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2" r:id="rId3"/>
    <p:sldId id="283" r:id="rId4"/>
    <p:sldId id="280" r:id="rId5"/>
    <p:sldId id="284" r:id="rId6"/>
    <p:sldId id="274" r:id="rId7"/>
    <p:sldId id="277" r:id="rId8"/>
    <p:sldId id="300" r:id="rId9"/>
    <p:sldId id="279" r:id="rId10"/>
    <p:sldId id="285" r:id="rId11"/>
    <p:sldId id="301" r:id="rId12"/>
    <p:sldId id="305" r:id="rId13"/>
    <p:sldId id="306" r:id="rId14"/>
    <p:sldId id="314" r:id="rId15"/>
    <p:sldId id="308" r:id="rId16"/>
    <p:sldId id="307" r:id="rId17"/>
    <p:sldId id="310" r:id="rId18"/>
    <p:sldId id="309" r:id="rId19"/>
    <p:sldId id="311" r:id="rId20"/>
    <p:sldId id="312" r:id="rId21"/>
    <p:sldId id="315" r:id="rId22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2C21A6F3-2277-294B-9A9D-E56042082E1A}">
          <p14:sldIdLst>
            <p14:sldId id="256"/>
            <p14:sldId id="262"/>
            <p14:sldId id="283"/>
            <p14:sldId id="280"/>
            <p14:sldId id="284"/>
            <p14:sldId id="274"/>
            <p14:sldId id="277"/>
            <p14:sldId id="300"/>
            <p14:sldId id="279"/>
            <p14:sldId id="285"/>
            <p14:sldId id="301"/>
            <p14:sldId id="305"/>
            <p14:sldId id="306"/>
            <p14:sldId id="314"/>
            <p14:sldId id="308"/>
            <p14:sldId id="307"/>
            <p14:sldId id="310"/>
            <p14:sldId id="309"/>
            <p14:sldId id="311"/>
            <p14:sldId id="312"/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85" autoAdjust="0"/>
    <p:restoredTop sz="96182" autoAdjust="0"/>
  </p:normalViewPr>
  <p:slideViewPr>
    <p:cSldViewPr snapToGrid="0">
      <p:cViewPr varScale="1">
        <p:scale>
          <a:sx n="96" d="100"/>
          <a:sy n="96" d="100"/>
        </p:scale>
        <p:origin x="184" y="4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0244AC-0AF7-2C47-916C-DD2D2ADD3F36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99ED1FDA-1FB3-F842-B704-D37CCE1C1061}">
      <dgm:prSet phldrT="[文本]" custT="1"/>
      <dgm:spPr/>
      <dgm:t>
        <a:bodyPr/>
        <a:lstStyle/>
        <a:p>
          <a:r>
            <a:rPr lang="zh-CN" altLang="en-US" sz="2000" dirty="0"/>
            <a:t>人脸检测</a:t>
          </a:r>
        </a:p>
      </dgm:t>
    </dgm:pt>
    <dgm:pt modelId="{6C090438-2157-A74C-A611-5DFD7900BAB6}" type="par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3F6D1C2B-6333-A646-BA8A-8AB48BF6E5F9}" type="sib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8349F7CE-54DA-1143-AAF9-A1C4A4A6BF70}">
      <dgm:prSet phldrT="[文本]" custT="1"/>
      <dgm:spPr/>
      <dgm:t>
        <a:bodyPr/>
        <a:lstStyle/>
        <a:p>
          <a:r>
            <a:rPr lang="zh-CN" altLang="en-US" sz="2000" dirty="0"/>
            <a:t>人脸对齐</a:t>
          </a:r>
        </a:p>
      </dgm:t>
    </dgm:pt>
    <dgm:pt modelId="{14A4DC49-F201-BC41-B2CE-19C185A10D68}" type="par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0E2FC0B5-967C-5C42-9720-87EC7EA898D1}" type="sib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2DFE79C2-9B9D-9442-A38B-27566D9EE6CA}">
      <dgm:prSet phldrT="[文本]" custT="1"/>
      <dgm:spPr/>
      <dgm:t>
        <a:bodyPr/>
        <a:lstStyle/>
        <a:p>
          <a:r>
            <a:rPr lang="zh-CN" altLang="en-US" sz="2000" dirty="0"/>
            <a:t>特征提取</a:t>
          </a:r>
        </a:p>
      </dgm:t>
    </dgm:pt>
    <dgm:pt modelId="{B119E152-31F0-8C4A-B053-BB20BEEA4F05}" type="par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C00903EF-9FF2-EB4C-A522-6CB235674AD2}" type="sib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FD386737-80BB-8D4D-A9FF-D84A6EA8D1F9}">
      <dgm:prSet custT="1"/>
      <dgm:spPr/>
      <dgm:t>
        <a:bodyPr/>
        <a:lstStyle/>
        <a:p>
          <a:r>
            <a:rPr lang="zh-CN" altLang="en-US" sz="2000" dirty="0"/>
            <a:t>特征比对</a:t>
          </a:r>
        </a:p>
      </dgm:t>
    </dgm:pt>
    <dgm:pt modelId="{41EEFB5B-ABAC-B048-897F-FFDCB503007D}" type="par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2F3C8A83-7249-9C43-83BA-476813305F63}" type="sib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A2E4D2AD-E6DB-F349-8A39-E25CFA50495E}" type="pres">
      <dgm:prSet presAssocID="{690244AC-0AF7-2C47-916C-DD2D2ADD3F36}" presName="Name0" presStyleCnt="0">
        <dgm:presLayoutVars>
          <dgm:dir/>
          <dgm:resizeHandles val="exact"/>
        </dgm:presLayoutVars>
      </dgm:prSet>
      <dgm:spPr/>
    </dgm:pt>
    <dgm:pt modelId="{FE1B4993-8606-004D-BBEC-428DEBF0DF69}" type="pres">
      <dgm:prSet presAssocID="{99ED1FDA-1FB3-F842-B704-D37CCE1C1061}" presName="node" presStyleLbl="node1" presStyleIdx="0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88894B05-CEEB-3C4F-9526-21E22128FB57}" type="pres">
      <dgm:prSet presAssocID="{3F6D1C2B-6333-A646-BA8A-8AB48BF6E5F9}" presName="sibTrans" presStyleLbl="sibTrans2D1" presStyleIdx="0" presStyleCnt="3"/>
      <dgm:spPr/>
    </dgm:pt>
    <dgm:pt modelId="{8D794326-4781-2748-A3CC-C303E2747764}" type="pres">
      <dgm:prSet presAssocID="{3F6D1C2B-6333-A646-BA8A-8AB48BF6E5F9}" presName="connectorText" presStyleLbl="sibTrans2D1" presStyleIdx="0" presStyleCnt="3"/>
      <dgm:spPr/>
    </dgm:pt>
    <dgm:pt modelId="{949B2E35-4A58-8C4A-B01A-498754C09537}" type="pres">
      <dgm:prSet presAssocID="{8349F7CE-54DA-1143-AAF9-A1C4A4A6BF70}" presName="node" presStyleLbl="node1" presStyleIdx="1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7AB03827-B93A-8D41-9E3A-F328292D2BD9}" type="pres">
      <dgm:prSet presAssocID="{0E2FC0B5-967C-5C42-9720-87EC7EA898D1}" presName="sibTrans" presStyleLbl="sibTrans2D1" presStyleIdx="1" presStyleCnt="3"/>
      <dgm:spPr/>
    </dgm:pt>
    <dgm:pt modelId="{01FB71EC-9DA4-2E4A-87A5-455A38AA3EBB}" type="pres">
      <dgm:prSet presAssocID="{0E2FC0B5-967C-5C42-9720-87EC7EA898D1}" presName="connectorText" presStyleLbl="sibTrans2D1" presStyleIdx="1" presStyleCnt="3"/>
      <dgm:spPr/>
    </dgm:pt>
    <dgm:pt modelId="{DFC6F735-9AF6-154E-9485-77147643EE17}" type="pres">
      <dgm:prSet presAssocID="{2DFE79C2-9B9D-9442-A38B-27566D9EE6CA}" presName="node" presStyleLbl="node1" presStyleIdx="2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96B4AABA-48A0-9346-BBE6-6F42119F2B0D}" type="pres">
      <dgm:prSet presAssocID="{C00903EF-9FF2-EB4C-A522-6CB235674AD2}" presName="sibTrans" presStyleLbl="sibTrans2D1" presStyleIdx="2" presStyleCnt="3"/>
      <dgm:spPr/>
    </dgm:pt>
    <dgm:pt modelId="{EC0E5B6E-2A4E-9E47-949C-7C6DC5784AE7}" type="pres">
      <dgm:prSet presAssocID="{C00903EF-9FF2-EB4C-A522-6CB235674AD2}" presName="connectorText" presStyleLbl="sibTrans2D1" presStyleIdx="2" presStyleCnt="3"/>
      <dgm:spPr/>
    </dgm:pt>
    <dgm:pt modelId="{CDED145C-8AB3-4240-83AC-4F9F2653A8C1}" type="pres">
      <dgm:prSet presAssocID="{FD386737-80BB-8D4D-A9FF-D84A6EA8D1F9}" presName="node" presStyleLbl="node1" presStyleIdx="3" presStyleCnt="4">
        <dgm:presLayoutVars>
          <dgm:bulletEnabled val="1"/>
        </dgm:presLayoutVars>
      </dgm:prSet>
      <dgm:spPr>
        <a:prstGeom prst="flowChartTerminator">
          <a:avLst/>
        </a:prstGeom>
      </dgm:spPr>
    </dgm:pt>
  </dgm:ptLst>
  <dgm:cxnLst>
    <dgm:cxn modelId="{170FC317-66C2-E143-A61B-E932BA9AE4DA}" type="presOf" srcId="{FD386737-80BB-8D4D-A9FF-D84A6EA8D1F9}" destId="{CDED145C-8AB3-4240-83AC-4F9F2653A8C1}" srcOrd="0" destOrd="0" presId="urn:microsoft.com/office/officeart/2005/8/layout/process1"/>
    <dgm:cxn modelId="{60B7F337-0B42-794C-B262-DA66752E283C}" type="presOf" srcId="{0E2FC0B5-967C-5C42-9720-87EC7EA898D1}" destId="{7AB03827-B93A-8D41-9E3A-F328292D2BD9}" srcOrd="0" destOrd="0" presId="urn:microsoft.com/office/officeart/2005/8/layout/process1"/>
    <dgm:cxn modelId="{CD2DA638-A732-B94A-9F43-D8B8232B9FD0}" type="presOf" srcId="{99ED1FDA-1FB3-F842-B704-D37CCE1C1061}" destId="{FE1B4993-8606-004D-BBEC-428DEBF0DF69}" srcOrd="0" destOrd="0" presId="urn:microsoft.com/office/officeart/2005/8/layout/process1"/>
    <dgm:cxn modelId="{9A85ED3E-3E55-3948-9936-E4FEB6D1C3D2}" type="presOf" srcId="{2DFE79C2-9B9D-9442-A38B-27566D9EE6CA}" destId="{DFC6F735-9AF6-154E-9485-77147643EE17}" srcOrd="0" destOrd="0" presId="urn:microsoft.com/office/officeart/2005/8/layout/process1"/>
    <dgm:cxn modelId="{36D1D441-BE8B-0A43-B048-54B8417983A0}" type="presOf" srcId="{0E2FC0B5-967C-5C42-9720-87EC7EA898D1}" destId="{01FB71EC-9DA4-2E4A-87A5-455A38AA3EBB}" srcOrd="1" destOrd="0" presId="urn:microsoft.com/office/officeart/2005/8/layout/process1"/>
    <dgm:cxn modelId="{87CC9758-FE7D-2941-9928-D8E235A7A583}" type="presOf" srcId="{C00903EF-9FF2-EB4C-A522-6CB235674AD2}" destId="{EC0E5B6E-2A4E-9E47-949C-7C6DC5784AE7}" srcOrd="1" destOrd="0" presId="urn:microsoft.com/office/officeart/2005/8/layout/process1"/>
    <dgm:cxn modelId="{9F87A559-7139-654A-87B1-114F17322DCE}" type="presOf" srcId="{3F6D1C2B-6333-A646-BA8A-8AB48BF6E5F9}" destId="{8D794326-4781-2748-A3CC-C303E2747764}" srcOrd="1" destOrd="0" presId="urn:microsoft.com/office/officeart/2005/8/layout/process1"/>
    <dgm:cxn modelId="{6D9DE17B-D0DD-C944-9612-6A7A28952840}" type="presOf" srcId="{690244AC-0AF7-2C47-916C-DD2D2ADD3F36}" destId="{A2E4D2AD-E6DB-F349-8A39-E25CFA50495E}" srcOrd="0" destOrd="0" presId="urn:microsoft.com/office/officeart/2005/8/layout/process1"/>
    <dgm:cxn modelId="{8045288E-94DF-D540-8A05-AEDD948B8C5A}" type="presOf" srcId="{C00903EF-9FF2-EB4C-A522-6CB235674AD2}" destId="{96B4AABA-48A0-9346-BBE6-6F42119F2B0D}" srcOrd="0" destOrd="0" presId="urn:microsoft.com/office/officeart/2005/8/layout/process1"/>
    <dgm:cxn modelId="{3FAB4F93-3A3A-C141-97DE-12A9FDCA08E2}" type="presOf" srcId="{8349F7CE-54DA-1143-AAF9-A1C4A4A6BF70}" destId="{949B2E35-4A58-8C4A-B01A-498754C09537}" srcOrd="0" destOrd="0" presId="urn:microsoft.com/office/officeart/2005/8/layout/process1"/>
    <dgm:cxn modelId="{87E16E96-D803-1942-BAA7-5D0F3198B5BC}" type="presOf" srcId="{3F6D1C2B-6333-A646-BA8A-8AB48BF6E5F9}" destId="{88894B05-CEEB-3C4F-9526-21E22128FB57}" srcOrd="0" destOrd="0" presId="urn:microsoft.com/office/officeart/2005/8/layout/process1"/>
    <dgm:cxn modelId="{43231AC1-F381-D44A-8E15-78EFE1F20ACC}" srcId="{690244AC-0AF7-2C47-916C-DD2D2ADD3F36}" destId="{FD386737-80BB-8D4D-A9FF-D84A6EA8D1F9}" srcOrd="3" destOrd="0" parTransId="{41EEFB5B-ABAC-B048-897F-FFDCB503007D}" sibTransId="{2F3C8A83-7249-9C43-83BA-476813305F63}"/>
    <dgm:cxn modelId="{13D6C7CA-0523-B44A-B9BA-31E31BD784E7}" srcId="{690244AC-0AF7-2C47-916C-DD2D2ADD3F36}" destId="{8349F7CE-54DA-1143-AAF9-A1C4A4A6BF70}" srcOrd="1" destOrd="0" parTransId="{14A4DC49-F201-BC41-B2CE-19C185A10D68}" sibTransId="{0E2FC0B5-967C-5C42-9720-87EC7EA898D1}"/>
    <dgm:cxn modelId="{4DFE58D8-34FF-DD46-88AD-9CBA618CCACE}" srcId="{690244AC-0AF7-2C47-916C-DD2D2ADD3F36}" destId="{2DFE79C2-9B9D-9442-A38B-27566D9EE6CA}" srcOrd="2" destOrd="0" parTransId="{B119E152-31F0-8C4A-B053-BB20BEEA4F05}" sibTransId="{C00903EF-9FF2-EB4C-A522-6CB235674AD2}"/>
    <dgm:cxn modelId="{523111EA-3D56-6B41-B10E-582A693D524B}" srcId="{690244AC-0AF7-2C47-916C-DD2D2ADD3F36}" destId="{99ED1FDA-1FB3-F842-B704-D37CCE1C1061}" srcOrd="0" destOrd="0" parTransId="{6C090438-2157-A74C-A611-5DFD7900BAB6}" sibTransId="{3F6D1C2B-6333-A646-BA8A-8AB48BF6E5F9}"/>
    <dgm:cxn modelId="{67246973-325E-DA45-A69C-0CCE7E39E806}" type="presParOf" srcId="{A2E4D2AD-E6DB-F349-8A39-E25CFA50495E}" destId="{FE1B4993-8606-004D-BBEC-428DEBF0DF69}" srcOrd="0" destOrd="0" presId="urn:microsoft.com/office/officeart/2005/8/layout/process1"/>
    <dgm:cxn modelId="{7436F71C-AC09-614B-8A52-B2FC8470511C}" type="presParOf" srcId="{A2E4D2AD-E6DB-F349-8A39-E25CFA50495E}" destId="{88894B05-CEEB-3C4F-9526-21E22128FB57}" srcOrd="1" destOrd="0" presId="urn:microsoft.com/office/officeart/2005/8/layout/process1"/>
    <dgm:cxn modelId="{1357A45B-65AA-C947-A974-562318BCE604}" type="presParOf" srcId="{88894B05-CEEB-3C4F-9526-21E22128FB57}" destId="{8D794326-4781-2748-A3CC-C303E2747764}" srcOrd="0" destOrd="0" presId="urn:microsoft.com/office/officeart/2005/8/layout/process1"/>
    <dgm:cxn modelId="{73A10E5F-685D-7143-96CB-59B6C890E3B9}" type="presParOf" srcId="{A2E4D2AD-E6DB-F349-8A39-E25CFA50495E}" destId="{949B2E35-4A58-8C4A-B01A-498754C09537}" srcOrd="2" destOrd="0" presId="urn:microsoft.com/office/officeart/2005/8/layout/process1"/>
    <dgm:cxn modelId="{AAFADD80-E421-974A-8B0F-321948F7057B}" type="presParOf" srcId="{A2E4D2AD-E6DB-F349-8A39-E25CFA50495E}" destId="{7AB03827-B93A-8D41-9E3A-F328292D2BD9}" srcOrd="3" destOrd="0" presId="urn:microsoft.com/office/officeart/2005/8/layout/process1"/>
    <dgm:cxn modelId="{0490280B-704C-0647-9AE4-F2E4BEEF0E09}" type="presParOf" srcId="{7AB03827-B93A-8D41-9E3A-F328292D2BD9}" destId="{01FB71EC-9DA4-2E4A-87A5-455A38AA3EBB}" srcOrd="0" destOrd="0" presId="urn:microsoft.com/office/officeart/2005/8/layout/process1"/>
    <dgm:cxn modelId="{E0C0EBA3-C192-3247-9B35-BD6F9A9796F9}" type="presParOf" srcId="{A2E4D2AD-E6DB-F349-8A39-E25CFA50495E}" destId="{DFC6F735-9AF6-154E-9485-77147643EE17}" srcOrd="4" destOrd="0" presId="urn:microsoft.com/office/officeart/2005/8/layout/process1"/>
    <dgm:cxn modelId="{3BD20265-8F38-F348-BDDA-1F3D2F28C27D}" type="presParOf" srcId="{A2E4D2AD-E6DB-F349-8A39-E25CFA50495E}" destId="{96B4AABA-48A0-9346-BBE6-6F42119F2B0D}" srcOrd="5" destOrd="0" presId="urn:microsoft.com/office/officeart/2005/8/layout/process1"/>
    <dgm:cxn modelId="{2D310132-BD4A-E542-8215-56E58D3BB3C2}" type="presParOf" srcId="{96B4AABA-48A0-9346-BBE6-6F42119F2B0D}" destId="{EC0E5B6E-2A4E-9E47-949C-7C6DC5784AE7}" srcOrd="0" destOrd="0" presId="urn:microsoft.com/office/officeart/2005/8/layout/process1"/>
    <dgm:cxn modelId="{544977EF-3C68-EA4F-8496-F0239FEF7EF2}" type="presParOf" srcId="{A2E4D2AD-E6DB-F349-8A39-E25CFA50495E}" destId="{CDED145C-8AB3-4240-83AC-4F9F2653A8C1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90244AC-0AF7-2C47-916C-DD2D2ADD3F36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99ED1FDA-1FB3-F842-B704-D37CCE1C1061}">
      <dgm:prSet phldrT="[文本]" custT="1"/>
      <dgm:spPr/>
      <dgm:t>
        <a:bodyPr/>
        <a:lstStyle/>
        <a:p>
          <a:r>
            <a:rPr lang="zh-CN" altLang="en-US" sz="2000" dirty="0"/>
            <a:t>人脸检测</a:t>
          </a:r>
        </a:p>
      </dgm:t>
    </dgm:pt>
    <dgm:pt modelId="{6C090438-2157-A74C-A611-5DFD7900BAB6}" type="par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3F6D1C2B-6333-A646-BA8A-8AB48BF6E5F9}" type="sib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8349F7CE-54DA-1143-AAF9-A1C4A4A6BF70}">
      <dgm:prSet phldrT="[文本]" custT="1"/>
      <dgm:spPr/>
      <dgm:t>
        <a:bodyPr/>
        <a:lstStyle/>
        <a:p>
          <a:r>
            <a:rPr lang="zh-CN" altLang="en-US" sz="2000" dirty="0"/>
            <a:t>人脸对齐</a:t>
          </a:r>
        </a:p>
      </dgm:t>
    </dgm:pt>
    <dgm:pt modelId="{14A4DC49-F201-BC41-B2CE-19C185A10D68}" type="par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0E2FC0B5-967C-5C42-9720-87EC7EA898D1}" type="sib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2DFE79C2-9B9D-9442-A38B-27566D9EE6CA}">
      <dgm:prSet phldrT="[文本]" custT="1"/>
      <dgm:spPr/>
      <dgm:t>
        <a:bodyPr/>
        <a:lstStyle/>
        <a:p>
          <a:r>
            <a:rPr lang="zh-CN" altLang="en-US" sz="2000" dirty="0"/>
            <a:t>特征提取</a:t>
          </a:r>
        </a:p>
      </dgm:t>
    </dgm:pt>
    <dgm:pt modelId="{B119E152-31F0-8C4A-B053-BB20BEEA4F05}" type="par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C00903EF-9FF2-EB4C-A522-6CB235674AD2}" type="sib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FD386737-80BB-8D4D-A9FF-D84A6EA8D1F9}">
      <dgm:prSet custT="1"/>
      <dgm:spPr/>
      <dgm:t>
        <a:bodyPr/>
        <a:lstStyle/>
        <a:p>
          <a:r>
            <a:rPr lang="zh-CN" altLang="en-US" sz="2000" dirty="0"/>
            <a:t>特征比对</a:t>
          </a:r>
        </a:p>
      </dgm:t>
    </dgm:pt>
    <dgm:pt modelId="{41EEFB5B-ABAC-B048-897F-FFDCB503007D}" type="par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2F3C8A83-7249-9C43-83BA-476813305F63}" type="sib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A2E4D2AD-E6DB-F349-8A39-E25CFA50495E}" type="pres">
      <dgm:prSet presAssocID="{690244AC-0AF7-2C47-916C-DD2D2ADD3F36}" presName="Name0" presStyleCnt="0">
        <dgm:presLayoutVars>
          <dgm:dir/>
          <dgm:resizeHandles val="exact"/>
        </dgm:presLayoutVars>
      </dgm:prSet>
      <dgm:spPr/>
    </dgm:pt>
    <dgm:pt modelId="{FE1B4993-8606-004D-BBEC-428DEBF0DF69}" type="pres">
      <dgm:prSet presAssocID="{99ED1FDA-1FB3-F842-B704-D37CCE1C1061}" presName="node" presStyleLbl="node1" presStyleIdx="0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88894B05-CEEB-3C4F-9526-21E22128FB57}" type="pres">
      <dgm:prSet presAssocID="{3F6D1C2B-6333-A646-BA8A-8AB48BF6E5F9}" presName="sibTrans" presStyleLbl="sibTrans2D1" presStyleIdx="0" presStyleCnt="3"/>
      <dgm:spPr/>
    </dgm:pt>
    <dgm:pt modelId="{8D794326-4781-2748-A3CC-C303E2747764}" type="pres">
      <dgm:prSet presAssocID="{3F6D1C2B-6333-A646-BA8A-8AB48BF6E5F9}" presName="connectorText" presStyleLbl="sibTrans2D1" presStyleIdx="0" presStyleCnt="3"/>
      <dgm:spPr/>
    </dgm:pt>
    <dgm:pt modelId="{949B2E35-4A58-8C4A-B01A-498754C09537}" type="pres">
      <dgm:prSet presAssocID="{8349F7CE-54DA-1143-AAF9-A1C4A4A6BF70}" presName="node" presStyleLbl="node1" presStyleIdx="1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7AB03827-B93A-8D41-9E3A-F328292D2BD9}" type="pres">
      <dgm:prSet presAssocID="{0E2FC0B5-967C-5C42-9720-87EC7EA898D1}" presName="sibTrans" presStyleLbl="sibTrans2D1" presStyleIdx="1" presStyleCnt="3"/>
      <dgm:spPr/>
    </dgm:pt>
    <dgm:pt modelId="{01FB71EC-9DA4-2E4A-87A5-455A38AA3EBB}" type="pres">
      <dgm:prSet presAssocID="{0E2FC0B5-967C-5C42-9720-87EC7EA898D1}" presName="connectorText" presStyleLbl="sibTrans2D1" presStyleIdx="1" presStyleCnt="3"/>
      <dgm:spPr/>
    </dgm:pt>
    <dgm:pt modelId="{DFC6F735-9AF6-154E-9485-77147643EE17}" type="pres">
      <dgm:prSet presAssocID="{2DFE79C2-9B9D-9442-A38B-27566D9EE6CA}" presName="node" presStyleLbl="node1" presStyleIdx="2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96B4AABA-48A0-9346-BBE6-6F42119F2B0D}" type="pres">
      <dgm:prSet presAssocID="{C00903EF-9FF2-EB4C-A522-6CB235674AD2}" presName="sibTrans" presStyleLbl="sibTrans2D1" presStyleIdx="2" presStyleCnt="3"/>
      <dgm:spPr/>
    </dgm:pt>
    <dgm:pt modelId="{EC0E5B6E-2A4E-9E47-949C-7C6DC5784AE7}" type="pres">
      <dgm:prSet presAssocID="{C00903EF-9FF2-EB4C-A522-6CB235674AD2}" presName="connectorText" presStyleLbl="sibTrans2D1" presStyleIdx="2" presStyleCnt="3"/>
      <dgm:spPr/>
    </dgm:pt>
    <dgm:pt modelId="{CDED145C-8AB3-4240-83AC-4F9F2653A8C1}" type="pres">
      <dgm:prSet presAssocID="{FD386737-80BB-8D4D-A9FF-D84A6EA8D1F9}" presName="node" presStyleLbl="node1" presStyleIdx="3" presStyleCnt="4">
        <dgm:presLayoutVars>
          <dgm:bulletEnabled val="1"/>
        </dgm:presLayoutVars>
      </dgm:prSet>
      <dgm:spPr>
        <a:prstGeom prst="flowChartTerminator">
          <a:avLst/>
        </a:prstGeom>
      </dgm:spPr>
    </dgm:pt>
  </dgm:ptLst>
  <dgm:cxnLst>
    <dgm:cxn modelId="{170FC317-66C2-E143-A61B-E932BA9AE4DA}" type="presOf" srcId="{FD386737-80BB-8D4D-A9FF-D84A6EA8D1F9}" destId="{CDED145C-8AB3-4240-83AC-4F9F2653A8C1}" srcOrd="0" destOrd="0" presId="urn:microsoft.com/office/officeart/2005/8/layout/process1"/>
    <dgm:cxn modelId="{60B7F337-0B42-794C-B262-DA66752E283C}" type="presOf" srcId="{0E2FC0B5-967C-5C42-9720-87EC7EA898D1}" destId="{7AB03827-B93A-8D41-9E3A-F328292D2BD9}" srcOrd="0" destOrd="0" presId="urn:microsoft.com/office/officeart/2005/8/layout/process1"/>
    <dgm:cxn modelId="{CD2DA638-A732-B94A-9F43-D8B8232B9FD0}" type="presOf" srcId="{99ED1FDA-1FB3-F842-B704-D37CCE1C1061}" destId="{FE1B4993-8606-004D-BBEC-428DEBF0DF69}" srcOrd="0" destOrd="0" presId="urn:microsoft.com/office/officeart/2005/8/layout/process1"/>
    <dgm:cxn modelId="{9A85ED3E-3E55-3948-9936-E4FEB6D1C3D2}" type="presOf" srcId="{2DFE79C2-9B9D-9442-A38B-27566D9EE6CA}" destId="{DFC6F735-9AF6-154E-9485-77147643EE17}" srcOrd="0" destOrd="0" presId="urn:microsoft.com/office/officeart/2005/8/layout/process1"/>
    <dgm:cxn modelId="{36D1D441-BE8B-0A43-B048-54B8417983A0}" type="presOf" srcId="{0E2FC0B5-967C-5C42-9720-87EC7EA898D1}" destId="{01FB71EC-9DA4-2E4A-87A5-455A38AA3EBB}" srcOrd="1" destOrd="0" presId="urn:microsoft.com/office/officeart/2005/8/layout/process1"/>
    <dgm:cxn modelId="{87CC9758-FE7D-2941-9928-D8E235A7A583}" type="presOf" srcId="{C00903EF-9FF2-EB4C-A522-6CB235674AD2}" destId="{EC0E5B6E-2A4E-9E47-949C-7C6DC5784AE7}" srcOrd="1" destOrd="0" presId="urn:microsoft.com/office/officeart/2005/8/layout/process1"/>
    <dgm:cxn modelId="{9F87A559-7139-654A-87B1-114F17322DCE}" type="presOf" srcId="{3F6D1C2B-6333-A646-BA8A-8AB48BF6E5F9}" destId="{8D794326-4781-2748-A3CC-C303E2747764}" srcOrd="1" destOrd="0" presId="urn:microsoft.com/office/officeart/2005/8/layout/process1"/>
    <dgm:cxn modelId="{6D9DE17B-D0DD-C944-9612-6A7A28952840}" type="presOf" srcId="{690244AC-0AF7-2C47-916C-DD2D2ADD3F36}" destId="{A2E4D2AD-E6DB-F349-8A39-E25CFA50495E}" srcOrd="0" destOrd="0" presId="urn:microsoft.com/office/officeart/2005/8/layout/process1"/>
    <dgm:cxn modelId="{8045288E-94DF-D540-8A05-AEDD948B8C5A}" type="presOf" srcId="{C00903EF-9FF2-EB4C-A522-6CB235674AD2}" destId="{96B4AABA-48A0-9346-BBE6-6F42119F2B0D}" srcOrd="0" destOrd="0" presId="urn:microsoft.com/office/officeart/2005/8/layout/process1"/>
    <dgm:cxn modelId="{3FAB4F93-3A3A-C141-97DE-12A9FDCA08E2}" type="presOf" srcId="{8349F7CE-54DA-1143-AAF9-A1C4A4A6BF70}" destId="{949B2E35-4A58-8C4A-B01A-498754C09537}" srcOrd="0" destOrd="0" presId="urn:microsoft.com/office/officeart/2005/8/layout/process1"/>
    <dgm:cxn modelId="{87E16E96-D803-1942-BAA7-5D0F3198B5BC}" type="presOf" srcId="{3F6D1C2B-6333-A646-BA8A-8AB48BF6E5F9}" destId="{88894B05-CEEB-3C4F-9526-21E22128FB57}" srcOrd="0" destOrd="0" presId="urn:microsoft.com/office/officeart/2005/8/layout/process1"/>
    <dgm:cxn modelId="{43231AC1-F381-D44A-8E15-78EFE1F20ACC}" srcId="{690244AC-0AF7-2C47-916C-DD2D2ADD3F36}" destId="{FD386737-80BB-8D4D-A9FF-D84A6EA8D1F9}" srcOrd="3" destOrd="0" parTransId="{41EEFB5B-ABAC-B048-897F-FFDCB503007D}" sibTransId="{2F3C8A83-7249-9C43-83BA-476813305F63}"/>
    <dgm:cxn modelId="{13D6C7CA-0523-B44A-B9BA-31E31BD784E7}" srcId="{690244AC-0AF7-2C47-916C-DD2D2ADD3F36}" destId="{8349F7CE-54DA-1143-AAF9-A1C4A4A6BF70}" srcOrd="1" destOrd="0" parTransId="{14A4DC49-F201-BC41-B2CE-19C185A10D68}" sibTransId="{0E2FC0B5-967C-5C42-9720-87EC7EA898D1}"/>
    <dgm:cxn modelId="{4DFE58D8-34FF-DD46-88AD-9CBA618CCACE}" srcId="{690244AC-0AF7-2C47-916C-DD2D2ADD3F36}" destId="{2DFE79C2-9B9D-9442-A38B-27566D9EE6CA}" srcOrd="2" destOrd="0" parTransId="{B119E152-31F0-8C4A-B053-BB20BEEA4F05}" sibTransId="{C00903EF-9FF2-EB4C-A522-6CB235674AD2}"/>
    <dgm:cxn modelId="{523111EA-3D56-6B41-B10E-582A693D524B}" srcId="{690244AC-0AF7-2C47-916C-DD2D2ADD3F36}" destId="{99ED1FDA-1FB3-F842-B704-D37CCE1C1061}" srcOrd="0" destOrd="0" parTransId="{6C090438-2157-A74C-A611-5DFD7900BAB6}" sibTransId="{3F6D1C2B-6333-A646-BA8A-8AB48BF6E5F9}"/>
    <dgm:cxn modelId="{67246973-325E-DA45-A69C-0CCE7E39E806}" type="presParOf" srcId="{A2E4D2AD-E6DB-F349-8A39-E25CFA50495E}" destId="{FE1B4993-8606-004D-BBEC-428DEBF0DF69}" srcOrd="0" destOrd="0" presId="urn:microsoft.com/office/officeart/2005/8/layout/process1"/>
    <dgm:cxn modelId="{7436F71C-AC09-614B-8A52-B2FC8470511C}" type="presParOf" srcId="{A2E4D2AD-E6DB-F349-8A39-E25CFA50495E}" destId="{88894B05-CEEB-3C4F-9526-21E22128FB57}" srcOrd="1" destOrd="0" presId="urn:microsoft.com/office/officeart/2005/8/layout/process1"/>
    <dgm:cxn modelId="{1357A45B-65AA-C947-A974-562318BCE604}" type="presParOf" srcId="{88894B05-CEEB-3C4F-9526-21E22128FB57}" destId="{8D794326-4781-2748-A3CC-C303E2747764}" srcOrd="0" destOrd="0" presId="urn:microsoft.com/office/officeart/2005/8/layout/process1"/>
    <dgm:cxn modelId="{73A10E5F-685D-7143-96CB-59B6C890E3B9}" type="presParOf" srcId="{A2E4D2AD-E6DB-F349-8A39-E25CFA50495E}" destId="{949B2E35-4A58-8C4A-B01A-498754C09537}" srcOrd="2" destOrd="0" presId="urn:microsoft.com/office/officeart/2005/8/layout/process1"/>
    <dgm:cxn modelId="{AAFADD80-E421-974A-8B0F-321948F7057B}" type="presParOf" srcId="{A2E4D2AD-E6DB-F349-8A39-E25CFA50495E}" destId="{7AB03827-B93A-8D41-9E3A-F328292D2BD9}" srcOrd="3" destOrd="0" presId="urn:microsoft.com/office/officeart/2005/8/layout/process1"/>
    <dgm:cxn modelId="{0490280B-704C-0647-9AE4-F2E4BEEF0E09}" type="presParOf" srcId="{7AB03827-B93A-8D41-9E3A-F328292D2BD9}" destId="{01FB71EC-9DA4-2E4A-87A5-455A38AA3EBB}" srcOrd="0" destOrd="0" presId="urn:microsoft.com/office/officeart/2005/8/layout/process1"/>
    <dgm:cxn modelId="{E0C0EBA3-C192-3247-9B35-BD6F9A9796F9}" type="presParOf" srcId="{A2E4D2AD-E6DB-F349-8A39-E25CFA50495E}" destId="{DFC6F735-9AF6-154E-9485-77147643EE17}" srcOrd="4" destOrd="0" presId="urn:microsoft.com/office/officeart/2005/8/layout/process1"/>
    <dgm:cxn modelId="{3BD20265-8F38-F348-BDDA-1F3D2F28C27D}" type="presParOf" srcId="{A2E4D2AD-E6DB-F349-8A39-E25CFA50495E}" destId="{96B4AABA-48A0-9346-BBE6-6F42119F2B0D}" srcOrd="5" destOrd="0" presId="urn:microsoft.com/office/officeart/2005/8/layout/process1"/>
    <dgm:cxn modelId="{2D310132-BD4A-E542-8215-56E58D3BB3C2}" type="presParOf" srcId="{96B4AABA-48A0-9346-BBE6-6F42119F2B0D}" destId="{EC0E5B6E-2A4E-9E47-949C-7C6DC5784AE7}" srcOrd="0" destOrd="0" presId="urn:microsoft.com/office/officeart/2005/8/layout/process1"/>
    <dgm:cxn modelId="{544977EF-3C68-EA4F-8496-F0239FEF7EF2}" type="presParOf" srcId="{A2E4D2AD-E6DB-F349-8A39-E25CFA50495E}" destId="{CDED145C-8AB3-4240-83AC-4F9F2653A8C1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1B4993-8606-004D-BBEC-428DEBF0DF69}">
      <dsp:nvSpPr>
        <dsp:cNvPr id="0" name=""/>
        <dsp:cNvSpPr/>
      </dsp:nvSpPr>
      <dsp:spPr>
        <a:xfrm>
          <a:off x="4133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检测</a:t>
          </a:r>
        </a:p>
      </dsp:txBody>
      <dsp:txXfrm>
        <a:off x="89312" y="1869866"/>
        <a:ext cx="1636982" cy="766814"/>
      </dsp:txXfrm>
    </dsp:sp>
    <dsp:sp modelId="{88894B05-CEEB-3C4F-9526-21E22128FB57}">
      <dsp:nvSpPr>
        <dsp:cNvPr id="0" name=""/>
        <dsp:cNvSpPr/>
      </dsp:nvSpPr>
      <dsp:spPr>
        <a:xfrm>
          <a:off x="1992207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1992207" y="2118807"/>
        <a:ext cx="268209" cy="268932"/>
      </dsp:txXfrm>
    </dsp:sp>
    <dsp:sp modelId="{949B2E35-4A58-8C4A-B01A-498754C09537}">
      <dsp:nvSpPr>
        <dsp:cNvPr id="0" name=""/>
        <dsp:cNvSpPr/>
      </dsp:nvSpPr>
      <dsp:spPr>
        <a:xfrm>
          <a:off x="2534409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对齐</a:t>
          </a:r>
        </a:p>
      </dsp:txBody>
      <dsp:txXfrm>
        <a:off x="2619588" y="1869866"/>
        <a:ext cx="1636982" cy="766814"/>
      </dsp:txXfrm>
    </dsp:sp>
    <dsp:sp modelId="{7AB03827-B93A-8D41-9E3A-F328292D2BD9}">
      <dsp:nvSpPr>
        <dsp:cNvPr id="0" name=""/>
        <dsp:cNvSpPr/>
      </dsp:nvSpPr>
      <dsp:spPr>
        <a:xfrm>
          <a:off x="4522483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4522483" y="2118807"/>
        <a:ext cx="268209" cy="268932"/>
      </dsp:txXfrm>
    </dsp:sp>
    <dsp:sp modelId="{DFC6F735-9AF6-154E-9485-77147643EE17}">
      <dsp:nvSpPr>
        <dsp:cNvPr id="0" name=""/>
        <dsp:cNvSpPr/>
      </dsp:nvSpPr>
      <dsp:spPr>
        <a:xfrm>
          <a:off x="5064686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提取</a:t>
          </a:r>
        </a:p>
      </dsp:txBody>
      <dsp:txXfrm>
        <a:off x="5149865" y="1869866"/>
        <a:ext cx="1636982" cy="766814"/>
      </dsp:txXfrm>
    </dsp:sp>
    <dsp:sp modelId="{96B4AABA-48A0-9346-BBE6-6F42119F2B0D}">
      <dsp:nvSpPr>
        <dsp:cNvPr id="0" name=""/>
        <dsp:cNvSpPr/>
      </dsp:nvSpPr>
      <dsp:spPr>
        <a:xfrm>
          <a:off x="7052760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7052760" y="2118807"/>
        <a:ext cx="268209" cy="268932"/>
      </dsp:txXfrm>
    </dsp:sp>
    <dsp:sp modelId="{CDED145C-8AB3-4240-83AC-4F9F2653A8C1}">
      <dsp:nvSpPr>
        <dsp:cNvPr id="0" name=""/>
        <dsp:cNvSpPr/>
      </dsp:nvSpPr>
      <dsp:spPr>
        <a:xfrm>
          <a:off x="7594962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比对</a:t>
          </a:r>
        </a:p>
      </dsp:txBody>
      <dsp:txXfrm>
        <a:off x="7680141" y="1869866"/>
        <a:ext cx="1636982" cy="7668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1B4993-8606-004D-BBEC-428DEBF0DF69}">
      <dsp:nvSpPr>
        <dsp:cNvPr id="0" name=""/>
        <dsp:cNvSpPr/>
      </dsp:nvSpPr>
      <dsp:spPr>
        <a:xfrm>
          <a:off x="3477" y="775777"/>
          <a:ext cx="1520408" cy="912245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检测</a:t>
          </a:r>
        </a:p>
      </dsp:txBody>
      <dsp:txXfrm>
        <a:off x="75133" y="909362"/>
        <a:ext cx="1377096" cy="645075"/>
      </dsp:txXfrm>
    </dsp:sp>
    <dsp:sp modelId="{88894B05-CEEB-3C4F-9526-21E22128FB57}">
      <dsp:nvSpPr>
        <dsp:cNvPr id="0" name=""/>
        <dsp:cNvSpPr/>
      </dsp:nvSpPr>
      <dsp:spPr>
        <a:xfrm>
          <a:off x="1675926" y="1043369"/>
          <a:ext cx="322326" cy="3770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1675926" y="1118781"/>
        <a:ext cx="225628" cy="226237"/>
      </dsp:txXfrm>
    </dsp:sp>
    <dsp:sp modelId="{949B2E35-4A58-8C4A-B01A-498754C09537}">
      <dsp:nvSpPr>
        <dsp:cNvPr id="0" name=""/>
        <dsp:cNvSpPr/>
      </dsp:nvSpPr>
      <dsp:spPr>
        <a:xfrm>
          <a:off x="2132049" y="775777"/>
          <a:ext cx="1520408" cy="912245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对齐</a:t>
          </a:r>
        </a:p>
      </dsp:txBody>
      <dsp:txXfrm>
        <a:off x="2203705" y="909362"/>
        <a:ext cx="1377096" cy="645075"/>
      </dsp:txXfrm>
    </dsp:sp>
    <dsp:sp modelId="{7AB03827-B93A-8D41-9E3A-F328292D2BD9}">
      <dsp:nvSpPr>
        <dsp:cNvPr id="0" name=""/>
        <dsp:cNvSpPr/>
      </dsp:nvSpPr>
      <dsp:spPr>
        <a:xfrm>
          <a:off x="3804498" y="1043369"/>
          <a:ext cx="322326" cy="3770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3804498" y="1118781"/>
        <a:ext cx="225628" cy="226237"/>
      </dsp:txXfrm>
    </dsp:sp>
    <dsp:sp modelId="{DFC6F735-9AF6-154E-9485-77147643EE17}">
      <dsp:nvSpPr>
        <dsp:cNvPr id="0" name=""/>
        <dsp:cNvSpPr/>
      </dsp:nvSpPr>
      <dsp:spPr>
        <a:xfrm>
          <a:off x="4260621" y="775777"/>
          <a:ext cx="1520408" cy="912245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提取</a:t>
          </a:r>
        </a:p>
      </dsp:txBody>
      <dsp:txXfrm>
        <a:off x="4332277" y="909362"/>
        <a:ext cx="1377096" cy="645075"/>
      </dsp:txXfrm>
    </dsp:sp>
    <dsp:sp modelId="{96B4AABA-48A0-9346-BBE6-6F42119F2B0D}">
      <dsp:nvSpPr>
        <dsp:cNvPr id="0" name=""/>
        <dsp:cNvSpPr/>
      </dsp:nvSpPr>
      <dsp:spPr>
        <a:xfrm>
          <a:off x="5933070" y="1043369"/>
          <a:ext cx="322326" cy="3770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5933070" y="1118781"/>
        <a:ext cx="225628" cy="226237"/>
      </dsp:txXfrm>
    </dsp:sp>
    <dsp:sp modelId="{CDED145C-8AB3-4240-83AC-4F9F2653A8C1}">
      <dsp:nvSpPr>
        <dsp:cNvPr id="0" name=""/>
        <dsp:cNvSpPr/>
      </dsp:nvSpPr>
      <dsp:spPr>
        <a:xfrm>
          <a:off x="6389193" y="775777"/>
          <a:ext cx="1520408" cy="912245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比对</a:t>
          </a:r>
        </a:p>
      </dsp:txBody>
      <dsp:txXfrm>
        <a:off x="6460849" y="909362"/>
        <a:ext cx="1377096" cy="6450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B20B96A-539B-4915-8C5A-058690DC47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23693" y="3999169"/>
            <a:ext cx="6992032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528457" y="2056374"/>
            <a:ext cx="6992031" cy="1942795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A542036A-A245-4FA6-AB65-D2AC946241F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
第二级
第三级
第四级
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A4979104-1265-43BF-8176-86E8DE494212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4690" y="2484892"/>
            <a:ext cx="6999739" cy="143396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19159" y="5823229"/>
            <a:ext cx="699973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19161" y="5526958"/>
            <a:ext cx="69997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tiff"/><Relationship Id="rId4" Type="http://schemas.openxmlformats.org/officeDocument/2006/relationships/image" Target="../media/image13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tif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523693" y="4084229"/>
            <a:ext cx="6992032" cy="558799"/>
          </a:xfrm>
        </p:spPr>
        <p:txBody>
          <a:bodyPr/>
          <a:lstStyle/>
          <a:p>
            <a:r>
              <a:rPr lang="zh-CN" altLang="en-US" dirty="0"/>
              <a:t>原理与实现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520272" y="2624788"/>
            <a:ext cx="6992031" cy="945726"/>
          </a:xfrm>
        </p:spPr>
        <p:txBody>
          <a:bodyPr>
            <a:normAutofit/>
          </a:bodyPr>
          <a:lstStyle/>
          <a:p>
            <a:r>
              <a:rPr lang="en-US" altLang="zh-CN" dirty="0"/>
              <a:t>Face recognition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Jim </a:t>
            </a:r>
            <a:r>
              <a:rPr lang="en-US" altLang="zh-CN" dirty="0" err="1"/>
              <a:t>xie</a:t>
            </a:r>
            <a:r>
              <a:rPr lang="en-US" altLang="zh-CN" dirty="0"/>
              <a:t> (CECS)</a:t>
            </a:r>
            <a:endParaRPr lang="en-US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243753" y="5837829"/>
            <a:ext cx="7275145" cy="296271"/>
          </a:xfrm>
        </p:spPr>
        <p:txBody>
          <a:bodyPr/>
          <a:lstStyle/>
          <a:p>
            <a:r>
              <a:rPr lang="en-US" altLang="en-US" dirty="0"/>
              <a:t>2019-12-10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A3549D92-584C-49D1-B459-B3F30410DF2F}"/>
              </a:ext>
            </a:extLst>
          </p:cNvPr>
          <p:cNvGrpSpPr/>
          <p:nvPr/>
        </p:nvGrpSpPr>
        <p:grpSpPr>
          <a:xfrm>
            <a:off x="669925" y="640864"/>
            <a:ext cx="1538695" cy="913600"/>
            <a:chOff x="880821" y="1531872"/>
            <a:chExt cx="2509480" cy="1490004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EC2FC9E7-1AD6-4FF2-A648-3E95A027CDE6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6CE773-3BE9-437A-A7FA-E4AB69B5BCE6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91E6770C-749C-49CA-A6D6-7BD341F081E0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 dirty="0">
                    <a:solidFill>
                      <a:schemeClr val="bg1"/>
                    </a:solidFill>
                    <a:latin typeface="+mn-lt"/>
                  </a:rPr>
                  <a:t>Sharing</a:t>
                </a:r>
                <a:endParaRPr lang="zh-CN" altLang="en-US" sz="166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7A15CD3E-32BC-4450-8B6C-5B766F53B884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CE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4" name="矩形 13">
            <a:extLst>
              <a:ext uri="{FF2B5EF4-FFF2-40B4-BE49-F238E27FC236}">
                <a16:creationId xmlns:a16="http://schemas.microsoft.com/office/drawing/2014/main" id="{CE816501-42FF-4493-B2F2-5B84768BD64A}"/>
              </a:ext>
            </a:extLst>
          </p:cNvPr>
          <p:cNvSpPr/>
          <p:nvPr/>
        </p:nvSpPr>
        <p:spPr>
          <a:xfrm>
            <a:off x="8131629" y="3655574"/>
            <a:ext cx="3384096" cy="293915"/>
          </a:xfrm>
          <a:prstGeom prst="rect">
            <a:avLst/>
          </a:prstGeom>
          <a:solidFill>
            <a:srgbClr val="FFC000">
              <a:alpha val="80000"/>
            </a:srgbClr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99D369-2224-491E-B3AC-0C3C434FE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脸对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6310281-C03A-4816-9010-2638C4FD9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4E6409-C8DA-4C81-90D5-517683B6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4098" name="Picture 2" descr="0.tiff">
            <a:extLst>
              <a:ext uri="{FF2B5EF4-FFF2-40B4-BE49-F238E27FC236}">
                <a16:creationId xmlns:a16="http://schemas.microsoft.com/office/drawing/2014/main" id="{4533C4E6-EAA0-D549-B29D-312279704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700" y="1318565"/>
            <a:ext cx="2517776" cy="207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0.tiff">
            <a:extLst>
              <a:ext uri="{FF2B5EF4-FFF2-40B4-BE49-F238E27FC236}">
                <a16:creationId xmlns:a16="http://schemas.microsoft.com/office/drawing/2014/main" id="{977BBC97-1DAD-4042-A5E7-E35A95705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00" y="1318566"/>
            <a:ext cx="2038955" cy="202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4C3E6A6A-5568-8A40-9569-7A34966F6B17}"/>
              </a:ext>
            </a:extLst>
          </p:cNvPr>
          <p:cNvCxnSpPr>
            <a:cxnSpLocks/>
            <a:stCxn id="4104" idx="1"/>
          </p:cNvCxnSpPr>
          <p:nvPr/>
        </p:nvCxnSpPr>
        <p:spPr>
          <a:xfrm flipV="1">
            <a:off x="2901558" y="2304045"/>
            <a:ext cx="4214142" cy="62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内容占位符 2">
            <a:extLst>
              <a:ext uri="{FF2B5EF4-FFF2-40B4-BE49-F238E27FC236}">
                <a16:creationId xmlns:a16="http://schemas.microsoft.com/office/drawing/2014/main" id="{DB86529B-C097-2E4D-B92B-E562F0FB99DE}"/>
              </a:ext>
            </a:extLst>
          </p:cNvPr>
          <p:cNvSpPr txBox="1">
            <a:spLocks/>
          </p:cNvSpPr>
          <p:nvPr/>
        </p:nvSpPr>
        <p:spPr>
          <a:xfrm>
            <a:off x="3882605" y="3685595"/>
            <a:ext cx="5206894" cy="2810364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定位关键点（</a:t>
            </a:r>
            <a:r>
              <a:rPr kumimoji="1" lang="en-US" altLang="zh-CN" sz="2000" dirty="0">
                <a:latin typeface="+mn-ea"/>
              </a:rPr>
              <a:t>landmark</a:t>
            </a:r>
            <a:r>
              <a:rPr kumimoji="1" lang="zh-CN" altLang="en-US" sz="2000" dirty="0">
                <a:latin typeface="+mn-ea"/>
              </a:rPr>
              <a:t> </a:t>
            </a:r>
            <a:r>
              <a:rPr kumimoji="1" lang="en-US" altLang="zh-CN" sz="2000" dirty="0">
                <a:latin typeface="+mn-ea"/>
              </a:rPr>
              <a:t>5</a:t>
            </a:r>
            <a:r>
              <a:rPr kumimoji="1" lang="zh-CN" altLang="en-US" sz="2000" dirty="0">
                <a:latin typeface="+mn-ea"/>
              </a:rPr>
              <a:t>）</a:t>
            </a: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计算转换函数</a:t>
            </a:r>
            <a:r>
              <a:rPr kumimoji="1" lang="en-US" altLang="zh-CN" sz="2000" dirty="0">
                <a:latin typeface="+mn-ea"/>
              </a:rPr>
              <a:t> (</a:t>
            </a:r>
            <a:r>
              <a:rPr kumimoji="1" lang="zh-CN" altLang="en-US" sz="2000" dirty="0">
                <a:latin typeface="+mn-ea"/>
              </a:rPr>
              <a:t>仿射矩阵</a:t>
            </a:r>
            <a:r>
              <a:rPr kumimoji="1" lang="en-US" altLang="zh-CN" sz="2000" dirty="0">
                <a:latin typeface="+mn-ea"/>
              </a:rPr>
              <a:t>)</a:t>
            </a: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将原图</a:t>
            </a:r>
            <a:r>
              <a:rPr kumimoji="1" lang="en-US" altLang="zh-CN" sz="2000" dirty="0">
                <a:latin typeface="+mn-ea"/>
              </a:rPr>
              <a:t>map</a:t>
            </a:r>
            <a:r>
              <a:rPr kumimoji="1" lang="zh-CN" altLang="en-US" sz="2000" dirty="0">
                <a:latin typeface="+mn-ea"/>
              </a:rPr>
              <a:t>至目标图</a:t>
            </a: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裁剪目标图中的人脸</a:t>
            </a:r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F8333147-E406-5846-B754-394F20E8DD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0367" y="1318566"/>
            <a:ext cx="1714377" cy="2077164"/>
          </a:xfrm>
          <a:prstGeom prst="rect">
            <a:avLst/>
          </a:prstGeom>
        </p:spPr>
      </p:pic>
      <p:pic>
        <p:nvPicPr>
          <p:cNvPr id="4104" name="Picture 8" descr="0.tiff">
            <a:extLst>
              <a:ext uri="{FF2B5EF4-FFF2-40B4-BE49-F238E27FC236}">
                <a16:creationId xmlns:a16="http://schemas.microsoft.com/office/drawing/2014/main" id="{5A969AC8-D5D1-BD41-9328-AF7ECC5F1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558" y="1318565"/>
            <a:ext cx="1696365" cy="1983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4735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特征提取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比对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7820683-035A-9240-9A13-CAED11946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707" y="2116655"/>
            <a:ext cx="2205644" cy="2672390"/>
          </a:xfrm>
          <a:prstGeom prst="rect">
            <a:avLst/>
          </a:prstGeom>
        </p:spPr>
      </p:pic>
      <p:pic>
        <p:nvPicPr>
          <p:cNvPr id="5122" name="Picture 2" descr="0.tiff">
            <a:extLst>
              <a:ext uri="{FF2B5EF4-FFF2-40B4-BE49-F238E27FC236}">
                <a16:creationId xmlns:a16="http://schemas.microsoft.com/office/drawing/2014/main" id="{A996E68B-95D9-DE48-9914-EEF38C61E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383" y="2116655"/>
            <a:ext cx="2554951" cy="2672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直线箭头连接符 7">
            <a:extLst>
              <a:ext uri="{FF2B5EF4-FFF2-40B4-BE49-F238E27FC236}">
                <a16:creationId xmlns:a16="http://schemas.microsoft.com/office/drawing/2014/main" id="{6D07B4BE-3541-D048-8133-3E5BA9B1778F}"/>
              </a:ext>
            </a:extLst>
          </p:cNvPr>
          <p:cNvCxnSpPr>
            <a:cxnSpLocks/>
          </p:cNvCxnSpPr>
          <p:nvPr/>
        </p:nvCxnSpPr>
        <p:spPr>
          <a:xfrm>
            <a:off x="3059088" y="3374967"/>
            <a:ext cx="11377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 descr="0.tiff">
            <a:extLst>
              <a:ext uri="{FF2B5EF4-FFF2-40B4-BE49-F238E27FC236}">
                <a16:creationId xmlns:a16="http://schemas.microsoft.com/office/drawing/2014/main" id="{D0DB9D76-0D24-D94B-9C84-A0C9E80AD9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814" y="2116655"/>
            <a:ext cx="3444534" cy="2716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直线箭头连接符 16">
            <a:extLst>
              <a:ext uri="{FF2B5EF4-FFF2-40B4-BE49-F238E27FC236}">
                <a16:creationId xmlns:a16="http://schemas.microsoft.com/office/drawing/2014/main" id="{FD720CAC-1509-D042-8F3B-32E6B303D109}"/>
              </a:ext>
            </a:extLst>
          </p:cNvPr>
          <p:cNvCxnSpPr>
            <a:cxnSpLocks/>
          </p:cNvCxnSpPr>
          <p:nvPr/>
        </p:nvCxnSpPr>
        <p:spPr>
          <a:xfrm>
            <a:off x="6822195" y="3350242"/>
            <a:ext cx="11377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845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477702BD-F664-524F-8EA1-05E1DED41721}"/>
              </a:ext>
            </a:extLst>
          </p:cNvPr>
          <p:cNvSpPr txBox="1"/>
          <p:nvPr/>
        </p:nvSpPr>
        <p:spPr>
          <a:xfrm>
            <a:off x="8909538" y="691662"/>
            <a:ext cx="2684585" cy="644770"/>
          </a:xfrm>
          <a:prstGeom prst="rect">
            <a:avLst/>
          </a:prstGeom>
          <a:noFill/>
          <a:ln w="117475">
            <a:noFill/>
          </a:ln>
          <a:effectLst>
            <a:reflection blurRad="101600" stA="50000" endA="300" endPos="38500" dist="50800" dir="5400000" sy="-100000" algn="bl" rotWithShape="0"/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Demo</a:t>
            </a:r>
          </a:p>
        </p:txBody>
      </p:sp>
      <p:graphicFrame>
        <p:nvGraphicFramePr>
          <p:cNvPr id="6" name="内容占位符 6">
            <a:extLst>
              <a:ext uri="{FF2B5EF4-FFF2-40B4-BE49-F238E27FC236}">
                <a16:creationId xmlns:a16="http://schemas.microsoft.com/office/drawing/2014/main" id="{2EEA7C8F-6352-C44D-98C9-9F18182B58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9119362"/>
              </p:ext>
            </p:extLst>
          </p:nvPr>
        </p:nvGraphicFramePr>
        <p:xfrm>
          <a:off x="304797" y="2543908"/>
          <a:ext cx="7913079" cy="2463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082883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不足与展望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BC932A1A-1025-5644-8A77-EDBFD397EEE3}"/>
              </a:ext>
            </a:extLst>
          </p:cNvPr>
          <p:cNvSpPr txBox="1">
            <a:spLocks/>
          </p:cNvSpPr>
          <p:nvPr/>
        </p:nvSpPr>
        <p:spPr>
          <a:xfrm>
            <a:off x="669924" y="2173889"/>
            <a:ext cx="2331183" cy="3116894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/>
              <a:t>小</a:t>
            </a:r>
            <a:r>
              <a:rPr kumimoji="1" lang="en-US" altLang="zh-CN" dirty="0"/>
              <a:t>   </a:t>
            </a:r>
            <a:r>
              <a:rPr kumimoji="1" lang="zh-CN" altLang="en-US" dirty="0"/>
              <a:t>脸</a:t>
            </a:r>
            <a:r>
              <a:rPr kumimoji="1" lang="en-US" altLang="zh-CN" dirty="0"/>
              <a:t>  </a:t>
            </a:r>
            <a:r>
              <a:rPr kumimoji="1" lang="zh-CN" altLang="en-US" dirty="0"/>
              <a:t>识</a:t>
            </a:r>
            <a:r>
              <a:rPr kumimoji="1" lang="en-US" altLang="zh-CN" dirty="0"/>
              <a:t>  </a:t>
            </a:r>
            <a:r>
              <a:rPr kumimoji="1" lang="zh-CN" altLang="en-US" dirty="0"/>
              <a:t>别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/>
              <a:t>侧</a:t>
            </a:r>
            <a:r>
              <a:rPr kumimoji="1" lang="en-US" altLang="zh-CN" dirty="0"/>
              <a:t>  </a:t>
            </a:r>
            <a:r>
              <a:rPr kumimoji="1" lang="zh-CN" altLang="en-US" dirty="0"/>
              <a:t>脸</a:t>
            </a:r>
            <a:r>
              <a:rPr kumimoji="1" lang="en-US" altLang="zh-CN" dirty="0"/>
              <a:t>  </a:t>
            </a:r>
            <a:r>
              <a:rPr kumimoji="1" lang="zh-CN" altLang="en-US" dirty="0"/>
              <a:t>识</a:t>
            </a:r>
            <a:r>
              <a:rPr kumimoji="1" lang="en-US" altLang="zh-CN" dirty="0"/>
              <a:t>  </a:t>
            </a:r>
            <a:r>
              <a:rPr kumimoji="1" lang="zh-CN" altLang="en-US" dirty="0"/>
              <a:t>别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/>
              <a:t>运</a:t>
            </a:r>
            <a:r>
              <a:rPr kumimoji="1" lang="en-US" altLang="zh-CN" dirty="0"/>
              <a:t>  </a:t>
            </a:r>
            <a:r>
              <a:rPr kumimoji="1" lang="zh-CN" altLang="en-US" dirty="0"/>
              <a:t>算</a:t>
            </a:r>
            <a:r>
              <a:rPr kumimoji="1" lang="en-US" altLang="zh-CN" dirty="0"/>
              <a:t>  </a:t>
            </a:r>
            <a:r>
              <a:rPr kumimoji="1" lang="zh-CN" altLang="en-US" dirty="0"/>
              <a:t>速</a:t>
            </a:r>
            <a:r>
              <a:rPr kumimoji="1" lang="en-US" altLang="zh-CN" dirty="0"/>
              <a:t>  </a:t>
            </a:r>
            <a:r>
              <a:rPr kumimoji="1" lang="zh-CN" altLang="en-US" dirty="0"/>
              <a:t>度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B9C6D5-1A53-FA4C-A672-4FE7249DF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1108" y="1140406"/>
            <a:ext cx="8695867" cy="4803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72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Q&amp;A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BB3B471-92ED-8244-9DDD-052B98C4914F}"/>
              </a:ext>
            </a:extLst>
          </p:cNvPr>
          <p:cNvSpPr txBox="1"/>
          <p:nvPr/>
        </p:nvSpPr>
        <p:spPr>
          <a:xfrm>
            <a:off x="4765430" y="3257642"/>
            <a:ext cx="3845169" cy="1055076"/>
          </a:xfrm>
          <a:prstGeom prst="rect">
            <a:avLst/>
          </a:prstGeom>
          <a:noFill/>
          <a:ln w="117475">
            <a:noFill/>
          </a:ln>
          <a:effectLst>
            <a:reflection blurRad="101600" stA="50000" endA="300" endPos="38500" dist="50800" dir="5400000" sy="-100000" algn="bl" rotWithShape="0"/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kumimoji="1" lang="en-US" altLang="zh-CN" b="1" dirty="0"/>
              <a:t>Thank you!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728824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Backlog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BC932A1A-1025-5644-8A77-EDBFD397EEE3}"/>
              </a:ext>
            </a:extLst>
          </p:cNvPr>
          <p:cNvSpPr txBox="1">
            <a:spLocks/>
          </p:cNvSpPr>
          <p:nvPr/>
        </p:nvSpPr>
        <p:spPr>
          <a:xfrm>
            <a:off x="3890946" y="2888997"/>
            <a:ext cx="3882327" cy="616203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kumimoji="1" lang="en-US" altLang="zh-CN" sz="3600" dirty="0"/>
              <a:t>Backlog</a:t>
            </a:r>
            <a:endParaRPr kumimoji="1"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27967386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LWF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1ABBF034-FE99-AA4E-B357-7A7D6776279C}"/>
              </a:ext>
            </a:extLst>
          </p:cNvPr>
          <p:cNvGraphicFramePr>
            <a:graphicFrameLocks noGrp="1"/>
          </p:cNvGraphicFramePr>
          <p:nvPr/>
        </p:nvGraphicFramePr>
        <p:xfrm>
          <a:off x="2820538" y="1692323"/>
          <a:ext cx="6890533" cy="40564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2896">
                  <a:extLst>
                    <a:ext uri="{9D8B030D-6E8A-4147-A177-3AD203B41FA5}">
                      <a16:colId xmlns:a16="http://schemas.microsoft.com/office/drawing/2014/main" val="2929647175"/>
                    </a:ext>
                  </a:extLst>
                </a:gridCol>
                <a:gridCol w="4377637">
                  <a:extLst>
                    <a:ext uri="{9D8B030D-6E8A-4147-A177-3AD203B41FA5}">
                      <a16:colId xmlns:a16="http://schemas.microsoft.com/office/drawing/2014/main" val="4019366240"/>
                    </a:ext>
                  </a:extLst>
                </a:gridCol>
              </a:tblGrid>
              <a:tr h="709684">
                <a:tc>
                  <a:txBody>
                    <a:bodyPr/>
                    <a:lstStyle/>
                    <a:p>
                      <a:r>
                        <a:rPr lang="en-US" altLang="zh-CN" sz="3200" dirty="0"/>
                        <a:t>Item</a:t>
                      </a:r>
                      <a:endParaRPr lang="zh-CN" alt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3200" dirty="0"/>
                        <a:t>Value</a:t>
                      </a:r>
                      <a:endParaRPr lang="zh-CN" altLang="en-US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840083"/>
                  </a:ext>
                </a:extLst>
              </a:tr>
              <a:tr h="669361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Face count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13233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03315"/>
                  </a:ext>
                </a:extLst>
              </a:tr>
              <a:tr h="669361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Person count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5749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2855698"/>
                  </a:ext>
                </a:extLst>
              </a:tr>
              <a:tr h="669361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&gt; 2 persons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1680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66897"/>
                  </a:ext>
                </a:extLst>
              </a:tr>
              <a:tr h="669361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Size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250*250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9585136"/>
                  </a:ext>
                </a:extLst>
              </a:tr>
              <a:tr h="669361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Kind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RGB/WB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8085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13538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/>
              <a:t>Haar</a:t>
            </a:r>
            <a:r>
              <a:rPr kumimoji="1" lang="en-US" altLang="zh-CN" dirty="0"/>
              <a:t> like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CB68B261-4E81-4F44-A2D5-91BBEA10E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637" y="1119714"/>
            <a:ext cx="6501189" cy="1407662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81A543D-D91F-AE4B-ACCC-844504C92E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7432" y="3001637"/>
            <a:ext cx="7336059" cy="294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183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ffine transformation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F38B146-8256-5F47-9383-E494BFE28B44}"/>
              </a:ext>
            </a:extLst>
          </p:cNvPr>
          <p:cNvSpPr/>
          <p:nvPr/>
        </p:nvSpPr>
        <p:spPr>
          <a:xfrm>
            <a:off x="2162799" y="1169582"/>
            <a:ext cx="3018805" cy="1819279"/>
          </a:xfrm>
          <a:prstGeom prst="rect">
            <a:avLst/>
          </a:prstGeom>
          <a:blipFill>
            <a:blip r:embed="rId2"/>
            <a:stretch>
              <a:fillRect l="-14993" r="-14993"/>
            </a:stretch>
          </a:blipFill>
          <a:ln>
            <a:noFill/>
          </a:ln>
          <a:effectLst>
            <a:outerShdw sx="1000" sy="1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442E056-1943-EE45-9014-C61920A2B45D}"/>
              </a:ext>
            </a:extLst>
          </p:cNvPr>
          <p:cNvSpPr/>
          <p:nvPr/>
        </p:nvSpPr>
        <p:spPr>
          <a:xfrm>
            <a:off x="6596489" y="1169582"/>
            <a:ext cx="3319167" cy="1696449"/>
          </a:xfrm>
          <a:prstGeom prst="rect">
            <a:avLst/>
          </a:prstGeom>
          <a:blipFill>
            <a:blip r:embed="rId3"/>
            <a:stretch>
              <a:fillRect l="4447" r="444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右箭头 8">
            <a:extLst>
              <a:ext uri="{FF2B5EF4-FFF2-40B4-BE49-F238E27FC236}">
                <a16:creationId xmlns:a16="http://schemas.microsoft.com/office/drawing/2014/main" id="{B10E6DC2-A9A7-5F45-BAB3-A1CA2E83E512}"/>
              </a:ext>
            </a:extLst>
          </p:cNvPr>
          <p:cNvSpPr/>
          <p:nvPr/>
        </p:nvSpPr>
        <p:spPr>
          <a:xfrm flipV="1">
            <a:off x="5314265" y="1895735"/>
            <a:ext cx="1120799" cy="1220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2186AE8-65A4-8E43-8551-B485774A154E}"/>
              </a:ext>
            </a:extLst>
          </p:cNvPr>
          <p:cNvSpPr txBox="1"/>
          <p:nvPr/>
        </p:nvSpPr>
        <p:spPr>
          <a:xfrm>
            <a:off x="3977111" y="3109762"/>
            <a:ext cx="32120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x1 = a*x0 + b*y0 + c</a:t>
            </a:r>
          </a:p>
          <a:p>
            <a:r>
              <a:rPr kumimoji="1" lang="en-US" altLang="zh-CN" sz="2400" dirty="0"/>
              <a:t>y1 = d*x0 + e*y0 + f </a:t>
            </a:r>
            <a:endParaRPr kumimoji="1" lang="zh-CN" altLang="en-US" sz="2400" dirty="0"/>
          </a:p>
        </p:txBody>
      </p:sp>
      <p:pic>
        <p:nvPicPr>
          <p:cNvPr id="11" name="Picture 6" descr="0.tiff">
            <a:extLst>
              <a:ext uri="{FF2B5EF4-FFF2-40B4-BE49-F238E27FC236}">
                <a16:creationId xmlns:a16="http://schemas.microsoft.com/office/drawing/2014/main" id="{9A061083-AEB7-474E-BD2F-B87A6F831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317" y="4184489"/>
            <a:ext cx="5963093" cy="236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6068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NN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9" name="内容占位符 7">
            <a:extLst>
              <a:ext uri="{FF2B5EF4-FFF2-40B4-BE49-F238E27FC236}">
                <a16:creationId xmlns:a16="http://schemas.microsoft.com/office/drawing/2014/main" id="{B80704F3-449B-AE4B-B180-0790CB5CA3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284" y="1113692"/>
            <a:ext cx="8035701" cy="5304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836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548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ADFEC93-99C4-4F92-942D-4EABED0070A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228912"/>
            <a:ext cx="10845800" cy="4299790"/>
            <a:chOff x="673100" y="1228912"/>
            <a:chExt cx="10845800" cy="4299790"/>
          </a:xfrm>
        </p:grpSpPr>
        <p:grpSp>
          <p:nvGrpSpPr>
            <p:cNvPr id="3" name="íşļíḍe">
              <a:extLst>
                <a:ext uri="{FF2B5EF4-FFF2-40B4-BE49-F238E27FC236}">
                  <a16:creationId xmlns:a16="http://schemas.microsoft.com/office/drawing/2014/main" id="{C0F7C034-4A3B-4B7E-B34A-3906158D3E63}"/>
                </a:ext>
              </a:extLst>
            </p:cNvPr>
            <p:cNvGrpSpPr/>
            <p:nvPr/>
          </p:nvGrpSpPr>
          <p:grpSpPr>
            <a:xfrm>
              <a:off x="1390092" y="2644868"/>
              <a:ext cx="9411816" cy="2883834"/>
              <a:chOff x="1390092" y="2573151"/>
              <a:chExt cx="9411816" cy="2883834"/>
            </a:xfrm>
          </p:grpSpPr>
          <p:grpSp>
            <p:nvGrpSpPr>
              <p:cNvPr id="7" name="iS1iďè">
                <a:extLst>
                  <a:ext uri="{FF2B5EF4-FFF2-40B4-BE49-F238E27FC236}">
                    <a16:creationId xmlns:a16="http://schemas.microsoft.com/office/drawing/2014/main" id="{8DBA5626-D956-4B16-90AC-FBEC22DD8AF8}"/>
                  </a:ext>
                </a:extLst>
              </p:cNvPr>
              <p:cNvGrpSpPr/>
              <p:nvPr/>
            </p:nvGrpSpPr>
            <p:grpSpPr>
              <a:xfrm>
                <a:off x="1390092" y="2573151"/>
                <a:ext cx="1909482" cy="2883834"/>
                <a:chOff x="1322295" y="2573151"/>
                <a:chExt cx="1909482" cy="2883834"/>
              </a:xfrm>
            </p:grpSpPr>
            <p:sp>
              <p:nvSpPr>
                <p:cNvPr id="29" name="ïšļîďê">
                  <a:extLst>
                    <a:ext uri="{FF2B5EF4-FFF2-40B4-BE49-F238E27FC236}">
                      <a16:creationId xmlns:a16="http://schemas.microsoft.com/office/drawing/2014/main" id="{E3C65A8A-9A33-48E3-AA6F-60190FC3AD26}"/>
                    </a:ext>
                  </a:extLst>
                </p:cNvPr>
                <p:cNvSpPr/>
                <p:nvPr/>
              </p:nvSpPr>
              <p:spPr>
                <a:xfrm>
                  <a:off x="1322295" y="2573151"/>
                  <a:ext cx="1909482" cy="288383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>
                  <a:outerShdw blurRad="63500" dist="25400" dir="2700000" algn="tl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iśḻïḋe">
                  <a:extLst>
                    <a:ext uri="{FF2B5EF4-FFF2-40B4-BE49-F238E27FC236}">
                      <a16:creationId xmlns:a16="http://schemas.microsoft.com/office/drawing/2014/main" id="{897BE290-C019-4D1C-A479-E320BA452C57}"/>
                    </a:ext>
                  </a:extLst>
                </p:cNvPr>
                <p:cNvSpPr/>
                <p:nvPr/>
              </p:nvSpPr>
              <p:spPr>
                <a:xfrm>
                  <a:off x="2057400" y="2985508"/>
                  <a:ext cx="439272" cy="336010"/>
                </a:xfrm>
                <a:custGeom>
                  <a:avLst/>
                  <a:gdLst>
                    <a:gd name="connsiteX0" fmla="*/ 361794 w 551492"/>
                    <a:gd name="connsiteY0" fmla="*/ 308363 h 421851"/>
                    <a:gd name="connsiteX1" fmla="*/ 530845 w 551492"/>
                    <a:gd name="connsiteY1" fmla="*/ 308363 h 421851"/>
                    <a:gd name="connsiteX2" fmla="*/ 551492 w 551492"/>
                    <a:gd name="connsiteY2" fmla="*/ 329044 h 421851"/>
                    <a:gd name="connsiteX3" fmla="*/ 551492 w 551492"/>
                    <a:gd name="connsiteY3" fmla="*/ 362650 h 421851"/>
                    <a:gd name="connsiteX4" fmla="*/ 530845 w 551492"/>
                    <a:gd name="connsiteY4" fmla="*/ 383331 h 421851"/>
                    <a:gd name="connsiteX5" fmla="*/ 378570 w 551492"/>
                    <a:gd name="connsiteY5" fmla="*/ 383331 h 421851"/>
                    <a:gd name="connsiteX6" fmla="*/ 378570 w 551492"/>
                    <a:gd name="connsiteY6" fmla="*/ 369113 h 421851"/>
                    <a:gd name="connsiteX7" fmla="*/ 361794 w 551492"/>
                    <a:gd name="connsiteY7" fmla="*/ 308363 h 421851"/>
                    <a:gd name="connsiteX8" fmla="*/ 313904 w 551492"/>
                    <a:gd name="connsiteY8" fmla="*/ 172924 h 421851"/>
                    <a:gd name="connsiteX9" fmla="*/ 530832 w 551492"/>
                    <a:gd name="connsiteY9" fmla="*/ 172924 h 421851"/>
                    <a:gd name="connsiteX10" fmla="*/ 551492 w 551492"/>
                    <a:gd name="connsiteY10" fmla="*/ 193548 h 421851"/>
                    <a:gd name="connsiteX11" fmla="*/ 551492 w 551492"/>
                    <a:gd name="connsiteY11" fmla="*/ 225772 h 421851"/>
                    <a:gd name="connsiteX12" fmla="*/ 530832 w 551492"/>
                    <a:gd name="connsiteY12" fmla="*/ 247685 h 421851"/>
                    <a:gd name="connsiteX13" fmla="*/ 271293 w 551492"/>
                    <a:gd name="connsiteY13" fmla="*/ 247685 h 421851"/>
                    <a:gd name="connsiteX14" fmla="*/ 271293 w 551492"/>
                    <a:gd name="connsiteY14" fmla="*/ 227061 h 421851"/>
                    <a:gd name="connsiteX15" fmla="*/ 272584 w 551492"/>
                    <a:gd name="connsiteY15" fmla="*/ 224483 h 421851"/>
                    <a:gd name="connsiteX16" fmla="*/ 313904 w 551492"/>
                    <a:gd name="connsiteY16" fmla="*/ 172924 h 421851"/>
                    <a:gd name="connsiteX17" fmla="*/ 281648 w 551492"/>
                    <a:gd name="connsiteY17" fmla="*/ 36241 h 421851"/>
                    <a:gd name="connsiteX18" fmla="*/ 530834 w 551492"/>
                    <a:gd name="connsiteY18" fmla="*/ 36241 h 421851"/>
                    <a:gd name="connsiteX19" fmla="*/ 551492 w 551492"/>
                    <a:gd name="connsiteY19" fmla="*/ 58154 h 421851"/>
                    <a:gd name="connsiteX20" fmla="*/ 551492 w 551492"/>
                    <a:gd name="connsiteY20" fmla="*/ 90378 h 421851"/>
                    <a:gd name="connsiteX21" fmla="*/ 530834 w 551492"/>
                    <a:gd name="connsiteY21" fmla="*/ 111002 h 421851"/>
                    <a:gd name="connsiteX22" fmla="*/ 308761 w 551492"/>
                    <a:gd name="connsiteY22" fmla="*/ 111002 h 421851"/>
                    <a:gd name="connsiteX23" fmla="*/ 295850 w 551492"/>
                    <a:gd name="connsiteY23" fmla="*/ 96823 h 421851"/>
                    <a:gd name="connsiteX24" fmla="*/ 281648 w 551492"/>
                    <a:gd name="connsiteY24" fmla="*/ 36241 h 421851"/>
                    <a:gd name="connsiteX25" fmla="*/ 176987 w 551492"/>
                    <a:gd name="connsiteY25" fmla="*/ 0 h 421851"/>
                    <a:gd name="connsiteX26" fmla="*/ 271294 w 551492"/>
                    <a:gd name="connsiteY26" fmla="*/ 117396 h 421851"/>
                    <a:gd name="connsiteX27" fmla="*/ 276461 w 551492"/>
                    <a:gd name="connsiteY27" fmla="*/ 117396 h 421851"/>
                    <a:gd name="connsiteX28" fmla="*/ 290672 w 551492"/>
                    <a:gd name="connsiteY28" fmla="*/ 152228 h 421851"/>
                    <a:gd name="connsiteX29" fmla="*/ 262251 w 551492"/>
                    <a:gd name="connsiteY29" fmla="*/ 199960 h 421851"/>
                    <a:gd name="connsiteX30" fmla="*/ 257083 w 551492"/>
                    <a:gd name="connsiteY30" fmla="*/ 197380 h 421851"/>
                    <a:gd name="connsiteX31" fmla="*/ 224786 w 551492"/>
                    <a:gd name="connsiteY31" fmla="*/ 247692 h 421851"/>
                    <a:gd name="connsiteX32" fmla="*/ 219619 w 551492"/>
                    <a:gd name="connsiteY32" fmla="*/ 259303 h 421851"/>
                    <a:gd name="connsiteX33" fmla="*/ 241581 w 551492"/>
                    <a:gd name="connsiteY33" fmla="*/ 279944 h 421851"/>
                    <a:gd name="connsiteX34" fmla="*/ 263543 w 551492"/>
                    <a:gd name="connsiteY34" fmla="*/ 279944 h 421851"/>
                    <a:gd name="connsiteX35" fmla="*/ 352682 w 551492"/>
                    <a:gd name="connsiteY35" fmla="*/ 368958 h 421851"/>
                    <a:gd name="connsiteX36" fmla="*/ 352682 w 551492"/>
                    <a:gd name="connsiteY36" fmla="*/ 393470 h 421851"/>
                    <a:gd name="connsiteX37" fmla="*/ 325553 w 551492"/>
                    <a:gd name="connsiteY37" fmla="*/ 421851 h 421851"/>
                    <a:gd name="connsiteX38" fmla="*/ 28421 w 551492"/>
                    <a:gd name="connsiteY38" fmla="*/ 421851 h 421851"/>
                    <a:gd name="connsiteX39" fmla="*/ 0 w 551492"/>
                    <a:gd name="connsiteY39" fmla="*/ 393470 h 421851"/>
                    <a:gd name="connsiteX40" fmla="*/ 0 w 551492"/>
                    <a:gd name="connsiteY40" fmla="*/ 368958 h 421851"/>
                    <a:gd name="connsiteX41" fmla="*/ 89139 w 551492"/>
                    <a:gd name="connsiteY41" fmla="*/ 279944 h 421851"/>
                    <a:gd name="connsiteX42" fmla="*/ 112393 w 551492"/>
                    <a:gd name="connsiteY42" fmla="*/ 279944 h 421851"/>
                    <a:gd name="connsiteX43" fmla="*/ 133063 w 551492"/>
                    <a:gd name="connsiteY43" fmla="*/ 259303 h 421851"/>
                    <a:gd name="connsiteX44" fmla="*/ 127896 w 551492"/>
                    <a:gd name="connsiteY44" fmla="*/ 247692 h 421851"/>
                    <a:gd name="connsiteX45" fmla="*/ 95599 w 551492"/>
                    <a:gd name="connsiteY45" fmla="*/ 198670 h 421851"/>
                    <a:gd name="connsiteX46" fmla="*/ 91723 w 551492"/>
                    <a:gd name="connsiteY46" fmla="*/ 199960 h 421851"/>
                    <a:gd name="connsiteX47" fmla="*/ 63302 w 551492"/>
                    <a:gd name="connsiteY47" fmla="*/ 152228 h 421851"/>
                    <a:gd name="connsiteX48" fmla="*/ 78804 w 551492"/>
                    <a:gd name="connsiteY48" fmla="*/ 117396 h 421851"/>
                    <a:gd name="connsiteX49" fmla="*/ 81388 w 551492"/>
                    <a:gd name="connsiteY49" fmla="*/ 117396 h 421851"/>
                    <a:gd name="connsiteX50" fmla="*/ 176987 w 551492"/>
                    <a:gd name="connsiteY50" fmla="*/ 0 h 42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551492" h="421851">
                      <a:moveTo>
                        <a:pt x="361794" y="308363"/>
                      </a:moveTo>
                      <a:lnTo>
                        <a:pt x="530845" y="308363"/>
                      </a:lnTo>
                      <a:cubicBezTo>
                        <a:pt x="541168" y="308363"/>
                        <a:pt x="551492" y="317411"/>
                        <a:pt x="551492" y="329044"/>
                      </a:cubicBezTo>
                      <a:lnTo>
                        <a:pt x="551492" y="362650"/>
                      </a:lnTo>
                      <a:cubicBezTo>
                        <a:pt x="551492" y="374283"/>
                        <a:pt x="541168" y="383331"/>
                        <a:pt x="530845" y="383331"/>
                      </a:cubicBezTo>
                      <a:lnTo>
                        <a:pt x="378570" y="383331"/>
                      </a:lnTo>
                      <a:lnTo>
                        <a:pt x="378570" y="369113"/>
                      </a:lnTo>
                      <a:cubicBezTo>
                        <a:pt x="378570" y="347140"/>
                        <a:pt x="372118" y="326459"/>
                        <a:pt x="361794" y="308363"/>
                      </a:cubicBezTo>
                      <a:close/>
                      <a:moveTo>
                        <a:pt x="313904" y="172924"/>
                      </a:moveTo>
                      <a:lnTo>
                        <a:pt x="530832" y="172924"/>
                      </a:lnTo>
                      <a:cubicBezTo>
                        <a:pt x="541162" y="172924"/>
                        <a:pt x="551492" y="181947"/>
                        <a:pt x="551492" y="193548"/>
                      </a:cubicBezTo>
                      <a:lnTo>
                        <a:pt x="551492" y="225772"/>
                      </a:lnTo>
                      <a:cubicBezTo>
                        <a:pt x="551492" y="237373"/>
                        <a:pt x="541162" y="247685"/>
                        <a:pt x="530832" y="247685"/>
                      </a:cubicBezTo>
                      <a:lnTo>
                        <a:pt x="271293" y="247685"/>
                      </a:lnTo>
                      <a:lnTo>
                        <a:pt x="271293" y="227061"/>
                      </a:lnTo>
                      <a:cubicBezTo>
                        <a:pt x="271293" y="225772"/>
                        <a:pt x="272584" y="225772"/>
                        <a:pt x="272584" y="224483"/>
                      </a:cubicBezTo>
                      <a:cubicBezTo>
                        <a:pt x="293244" y="218038"/>
                        <a:pt x="307448" y="194837"/>
                        <a:pt x="313904" y="172924"/>
                      </a:cubicBezTo>
                      <a:close/>
                      <a:moveTo>
                        <a:pt x="281648" y="36241"/>
                      </a:moveTo>
                      <a:lnTo>
                        <a:pt x="530834" y="36241"/>
                      </a:lnTo>
                      <a:cubicBezTo>
                        <a:pt x="541163" y="36241"/>
                        <a:pt x="551492" y="46553"/>
                        <a:pt x="551492" y="58154"/>
                      </a:cubicBezTo>
                      <a:lnTo>
                        <a:pt x="551492" y="90378"/>
                      </a:lnTo>
                      <a:cubicBezTo>
                        <a:pt x="551492" y="101979"/>
                        <a:pt x="541163" y="111002"/>
                        <a:pt x="530834" y="111002"/>
                      </a:cubicBezTo>
                      <a:lnTo>
                        <a:pt x="308761" y="111002"/>
                      </a:lnTo>
                      <a:cubicBezTo>
                        <a:pt x="304888" y="104557"/>
                        <a:pt x="301015" y="99401"/>
                        <a:pt x="295850" y="96823"/>
                      </a:cubicBezTo>
                      <a:cubicBezTo>
                        <a:pt x="293268" y="72333"/>
                        <a:pt x="288104" y="52998"/>
                        <a:pt x="281648" y="36241"/>
                      </a:cubicBezTo>
                      <a:close/>
                      <a:moveTo>
                        <a:pt x="176987" y="0"/>
                      </a:moveTo>
                      <a:cubicBezTo>
                        <a:pt x="257083" y="0"/>
                        <a:pt x="270002" y="64503"/>
                        <a:pt x="271294" y="117396"/>
                      </a:cubicBezTo>
                      <a:cubicBezTo>
                        <a:pt x="272586" y="117396"/>
                        <a:pt x="273878" y="117396"/>
                        <a:pt x="276461" y="117396"/>
                      </a:cubicBezTo>
                      <a:cubicBezTo>
                        <a:pt x="289380" y="117396"/>
                        <a:pt x="290672" y="132877"/>
                        <a:pt x="290672" y="152228"/>
                      </a:cubicBezTo>
                      <a:cubicBezTo>
                        <a:pt x="290672" y="171579"/>
                        <a:pt x="275169" y="199960"/>
                        <a:pt x="262251" y="199960"/>
                      </a:cubicBezTo>
                      <a:cubicBezTo>
                        <a:pt x="260959" y="199960"/>
                        <a:pt x="258375" y="198670"/>
                        <a:pt x="257083" y="197380"/>
                      </a:cubicBezTo>
                      <a:cubicBezTo>
                        <a:pt x="249332" y="216731"/>
                        <a:pt x="237705" y="233502"/>
                        <a:pt x="224786" y="247692"/>
                      </a:cubicBezTo>
                      <a:cubicBezTo>
                        <a:pt x="220911" y="250272"/>
                        <a:pt x="219619" y="254143"/>
                        <a:pt x="219619" y="259303"/>
                      </a:cubicBezTo>
                      <a:cubicBezTo>
                        <a:pt x="219619" y="270913"/>
                        <a:pt x="228662" y="279944"/>
                        <a:pt x="241581" y="279944"/>
                      </a:cubicBezTo>
                      <a:lnTo>
                        <a:pt x="263543" y="279944"/>
                      </a:lnTo>
                      <a:cubicBezTo>
                        <a:pt x="312634" y="279944"/>
                        <a:pt x="352682" y="319936"/>
                        <a:pt x="352682" y="368958"/>
                      </a:cubicBezTo>
                      <a:lnTo>
                        <a:pt x="352682" y="393470"/>
                      </a:lnTo>
                      <a:cubicBezTo>
                        <a:pt x="352682" y="408950"/>
                        <a:pt x="341055" y="421851"/>
                        <a:pt x="325553" y="421851"/>
                      </a:cubicBezTo>
                      <a:lnTo>
                        <a:pt x="28421" y="421851"/>
                      </a:lnTo>
                      <a:cubicBezTo>
                        <a:pt x="12919" y="421851"/>
                        <a:pt x="0" y="408950"/>
                        <a:pt x="0" y="393470"/>
                      </a:cubicBezTo>
                      <a:lnTo>
                        <a:pt x="0" y="368958"/>
                      </a:lnTo>
                      <a:cubicBezTo>
                        <a:pt x="0" y="319936"/>
                        <a:pt x="40048" y="279944"/>
                        <a:pt x="89139" y="279944"/>
                      </a:cubicBezTo>
                      <a:lnTo>
                        <a:pt x="112393" y="279944"/>
                      </a:lnTo>
                      <a:cubicBezTo>
                        <a:pt x="124020" y="279944"/>
                        <a:pt x="133063" y="270913"/>
                        <a:pt x="133063" y="259303"/>
                      </a:cubicBezTo>
                      <a:cubicBezTo>
                        <a:pt x="133063" y="254143"/>
                        <a:pt x="131771" y="250272"/>
                        <a:pt x="127896" y="247692"/>
                      </a:cubicBezTo>
                      <a:cubicBezTo>
                        <a:pt x="114977" y="234792"/>
                        <a:pt x="104642" y="216731"/>
                        <a:pt x="95599" y="198670"/>
                      </a:cubicBezTo>
                      <a:cubicBezTo>
                        <a:pt x="94307" y="199960"/>
                        <a:pt x="93015" y="199960"/>
                        <a:pt x="91723" y="199960"/>
                      </a:cubicBezTo>
                      <a:cubicBezTo>
                        <a:pt x="78804" y="199960"/>
                        <a:pt x="63302" y="171579"/>
                        <a:pt x="63302" y="152228"/>
                      </a:cubicBezTo>
                      <a:cubicBezTo>
                        <a:pt x="63302" y="132877"/>
                        <a:pt x="65886" y="117396"/>
                        <a:pt x="78804" y="117396"/>
                      </a:cubicBezTo>
                      <a:cubicBezTo>
                        <a:pt x="80096" y="117396"/>
                        <a:pt x="80096" y="117396"/>
                        <a:pt x="81388" y="117396"/>
                      </a:cubicBezTo>
                      <a:cubicBezTo>
                        <a:pt x="82680" y="64503"/>
                        <a:pt x="93015" y="0"/>
                        <a:pt x="17698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" name="íş1íḋè">
                  <a:extLst>
                    <a:ext uri="{FF2B5EF4-FFF2-40B4-BE49-F238E27FC236}">
                      <a16:creationId xmlns:a16="http://schemas.microsoft.com/office/drawing/2014/main" id="{D1491EE9-7D6B-49CE-9B2D-62102D73FA5D}"/>
                    </a:ext>
                  </a:extLst>
                </p:cNvPr>
                <p:cNvSpPr txBox="1"/>
                <p:nvPr/>
              </p:nvSpPr>
              <p:spPr>
                <a:xfrm>
                  <a:off x="1385048" y="4891884"/>
                  <a:ext cx="1783976" cy="36142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8A5B3782-0A36-49D9-A00A-F050C7EF0015}"/>
                    </a:ext>
                  </a:extLst>
                </p:cNvPr>
                <p:cNvCxnSpPr/>
                <p:nvPr/>
              </p:nvCxnSpPr>
              <p:spPr>
                <a:xfrm>
                  <a:off x="1427631" y="4669492"/>
                  <a:ext cx="1698810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7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íŝ1iḑê">
                  <a:extLst>
                    <a:ext uri="{FF2B5EF4-FFF2-40B4-BE49-F238E27FC236}">
                      <a16:creationId xmlns:a16="http://schemas.microsoft.com/office/drawing/2014/main" id="{4C7861BE-2CF8-40E3-B669-6FCD5072B7B2}"/>
                    </a:ext>
                  </a:extLst>
                </p:cNvPr>
                <p:cNvSpPr/>
                <p:nvPr/>
              </p:nvSpPr>
              <p:spPr>
                <a:xfrm>
                  <a:off x="1385048" y="3733875"/>
                  <a:ext cx="1783976" cy="442647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ctr"/>
                  <a:r>
                    <a:rPr lang="en-US" altLang="zh-CN" sz="2000" b="1" i="1" dirty="0">
                      <a:solidFill>
                        <a:schemeClr val="accent1"/>
                      </a:solidFill>
                    </a:rPr>
                    <a:t>01</a:t>
                  </a:r>
                </a:p>
              </p:txBody>
            </p:sp>
            <p:sp>
              <p:nvSpPr>
                <p:cNvPr id="34" name="işľïḓé">
                  <a:extLst>
                    <a:ext uri="{FF2B5EF4-FFF2-40B4-BE49-F238E27FC236}">
                      <a16:creationId xmlns:a16="http://schemas.microsoft.com/office/drawing/2014/main" id="{4A9D8246-F463-4589-8D81-339AE1C36B4A}"/>
                    </a:ext>
                  </a:extLst>
                </p:cNvPr>
                <p:cNvSpPr txBox="1"/>
                <p:nvPr/>
              </p:nvSpPr>
              <p:spPr>
                <a:xfrm>
                  <a:off x="1385048" y="4176522"/>
                  <a:ext cx="1783976" cy="3817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b="1" dirty="0"/>
                    <a:t>现状背景</a:t>
                  </a:r>
                  <a:endParaRPr lang="en-US" altLang="zh-CN" b="1" dirty="0"/>
                </a:p>
              </p:txBody>
            </p:sp>
          </p:grpSp>
          <p:grpSp>
            <p:nvGrpSpPr>
              <p:cNvPr id="8" name="ïšļíḓè">
                <a:extLst>
                  <a:ext uri="{FF2B5EF4-FFF2-40B4-BE49-F238E27FC236}">
                    <a16:creationId xmlns:a16="http://schemas.microsoft.com/office/drawing/2014/main" id="{1FD3186F-9BAD-45DB-B6C7-B3E72CDDCD76}"/>
                  </a:ext>
                </a:extLst>
              </p:cNvPr>
              <p:cNvGrpSpPr/>
              <p:nvPr/>
            </p:nvGrpSpPr>
            <p:grpSpPr>
              <a:xfrm>
                <a:off x="3890869" y="2573151"/>
                <a:ext cx="1909482" cy="2883834"/>
                <a:chOff x="3868271" y="2573151"/>
                <a:chExt cx="1909482" cy="2883834"/>
              </a:xfrm>
            </p:grpSpPr>
            <p:sp>
              <p:nvSpPr>
                <p:cNvPr id="23" name="íṡļidè">
                  <a:extLst>
                    <a:ext uri="{FF2B5EF4-FFF2-40B4-BE49-F238E27FC236}">
                      <a16:creationId xmlns:a16="http://schemas.microsoft.com/office/drawing/2014/main" id="{19048CCF-42B1-4324-8F6D-653A5CC76520}"/>
                    </a:ext>
                  </a:extLst>
                </p:cNvPr>
                <p:cNvSpPr/>
                <p:nvPr/>
              </p:nvSpPr>
              <p:spPr>
                <a:xfrm>
                  <a:off x="3868271" y="2573151"/>
                  <a:ext cx="1909482" cy="288383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>
                  <a:outerShdw blurRad="63500" dist="25400" dir="2700000" algn="tl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íŝlîḓé">
                  <a:extLst>
                    <a:ext uri="{FF2B5EF4-FFF2-40B4-BE49-F238E27FC236}">
                      <a16:creationId xmlns:a16="http://schemas.microsoft.com/office/drawing/2014/main" id="{2A8223D2-5BC0-4345-B5F2-0933DE261419}"/>
                    </a:ext>
                  </a:extLst>
                </p:cNvPr>
                <p:cNvSpPr/>
                <p:nvPr/>
              </p:nvSpPr>
              <p:spPr>
                <a:xfrm>
                  <a:off x="4625789" y="2979908"/>
                  <a:ext cx="394446" cy="347210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íšlîde">
                  <a:extLst>
                    <a:ext uri="{FF2B5EF4-FFF2-40B4-BE49-F238E27FC236}">
                      <a16:creationId xmlns:a16="http://schemas.microsoft.com/office/drawing/2014/main" id="{80E09E33-ABDE-4FF1-A97A-C9D3BA47EFE7}"/>
                    </a:ext>
                  </a:extLst>
                </p:cNvPr>
                <p:cNvSpPr txBox="1"/>
                <p:nvPr/>
              </p:nvSpPr>
              <p:spPr>
                <a:xfrm>
                  <a:off x="3931024" y="4891884"/>
                  <a:ext cx="1783976" cy="36142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A204781B-94BA-412B-980E-FEEE202CA86E}"/>
                    </a:ext>
                  </a:extLst>
                </p:cNvPr>
                <p:cNvCxnSpPr/>
                <p:nvPr/>
              </p:nvCxnSpPr>
              <p:spPr>
                <a:xfrm>
                  <a:off x="3973607" y="4669492"/>
                  <a:ext cx="1698810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7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îşlîḍè">
                  <a:extLst>
                    <a:ext uri="{FF2B5EF4-FFF2-40B4-BE49-F238E27FC236}">
                      <a16:creationId xmlns:a16="http://schemas.microsoft.com/office/drawing/2014/main" id="{03E43139-32D0-4D92-8C0E-93FC13E3BE46}"/>
                    </a:ext>
                  </a:extLst>
                </p:cNvPr>
                <p:cNvSpPr/>
                <p:nvPr/>
              </p:nvSpPr>
              <p:spPr>
                <a:xfrm>
                  <a:off x="3931024" y="3733875"/>
                  <a:ext cx="1783976" cy="442647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ctr"/>
                  <a:r>
                    <a:rPr lang="en-US" altLang="zh-CN" sz="2000" b="1" i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rPr>
                    <a:t>02</a:t>
                  </a:r>
                </a:p>
              </p:txBody>
            </p:sp>
            <p:sp>
              <p:nvSpPr>
                <p:cNvPr id="28" name="îṣľîḑê">
                  <a:extLst>
                    <a:ext uri="{FF2B5EF4-FFF2-40B4-BE49-F238E27FC236}">
                      <a16:creationId xmlns:a16="http://schemas.microsoft.com/office/drawing/2014/main" id="{347C14EB-4E8A-47BD-AB24-71467621BBB3}"/>
                    </a:ext>
                  </a:extLst>
                </p:cNvPr>
                <p:cNvSpPr txBox="1"/>
                <p:nvPr/>
              </p:nvSpPr>
              <p:spPr>
                <a:xfrm>
                  <a:off x="3931024" y="4176522"/>
                  <a:ext cx="1783976" cy="3817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b="1" dirty="0"/>
                    <a:t>实现方法</a:t>
                  </a:r>
                  <a:endParaRPr lang="en-US" altLang="zh-CN" b="1" dirty="0"/>
                </a:p>
              </p:txBody>
            </p:sp>
          </p:grpSp>
          <p:grpSp>
            <p:nvGrpSpPr>
              <p:cNvPr id="9" name="îśľïḋe">
                <a:extLst>
                  <a:ext uri="{FF2B5EF4-FFF2-40B4-BE49-F238E27FC236}">
                    <a16:creationId xmlns:a16="http://schemas.microsoft.com/office/drawing/2014/main" id="{B7A8DD7C-F110-4DC0-87BE-E41E7580C346}"/>
                  </a:ext>
                </a:extLst>
              </p:cNvPr>
              <p:cNvGrpSpPr/>
              <p:nvPr/>
            </p:nvGrpSpPr>
            <p:grpSpPr>
              <a:xfrm>
                <a:off x="6391647" y="2573151"/>
                <a:ext cx="1909482" cy="2883834"/>
                <a:chOff x="6414247" y="2573151"/>
                <a:chExt cx="1909482" cy="2883834"/>
              </a:xfrm>
            </p:grpSpPr>
            <p:sp>
              <p:nvSpPr>
                <p:cNvPr id="17" name="íṡľíḍê">
                  <a:extLst>
                    <a:ext uri="{FF2B5EF4-FFF2-40B4-BE49-F238E27FC236}">
                      <a16:creationId xmlns:a16="http://schemas.microsoft.com/office/drawing/2014/main" id="{D8EDEB35-DB47-4820-B0F8-1C02D541AB4B}"/>
                    </a:ext>
                  </a:extLst>
                </p:cNvPr>
                <p:cNvSpPr/>
                <p:nvPr/>
              </p:nvSpPr>
              <p:spPr>
                <a:xfrm>
                  <a:off x="6414247" y="2573151"/>
                  <a:ext cx="1909482" cy="288383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>
                  <a:outerShdw blurRad="63500" dist="25400" dir="2700000" algn="tl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íṡḻïdé">
                  <a:extLst>
                    <a:ext uri="{FF2B5EF4-FFF2-40B4-BE49-F238E27FC236}">
                      <a16:creationId xmlns:a16="http://schemas.microsoft.com/office/drawing/2014/main" id="{EC6466AD-CC1B-4D87-BDE2-6951B86CC90B}"/>
                    </a:ext>
                  </a:extLst>
                </p:cNvPr>
                <p:cNvSpPr/>
                <p:nvPr/>
              </p:nvSpPr>
              <p:spPr>
                <a:xfrm>
                  <a:off x="7149352" y="2985508"/>
                  <a:ext cx="439272" cy="336010"/>
                </a:xfrm>
                <a:custGeom>
                  <a:avLst/>
                  <a:gdLst>
                    <a:gd name="connsiteX0" fmla="*/ 361794 w 551492"/>
                    <a:gd name="connsiteY0" fmla="*/ 308363 h 421851"/>
                    <a:gd name="connsiteX1" fmla="*/ 530845 w 551492"/>
                    <a:gd name="connsiteY1" fmla="*/ 308363 h 421851"/>
                    <a:gd name="connsiteX2" fmla="*/ 551492 w 551492"/>
                    <a:gd name="connsiteY2" fmla="*/ 329044 h 421851"/>
                    <a:gd name="connsiteX3" fmla="*/ 551492 w 551492"/>
                    <a:gd name="connsiteY3" fmla="*/ 362650 h 421851"/>
                    <a:gd name="connsiteX4" fmla="*/ 530845 w 551492"/>
                    <a:gd name="connsiteY4" fmla="*/ 383331 h 421851"/>
                    <a:gd name="connsiteX5" fmla="*/ 378570 w 551492"/>
                    <a:gd name="connsiteY5" fmla="*/ 383331 h 421851"/>
                    <a:gd name="connsiteX6" fmla="*/ 378570 w 551492"/>
                    <a:gd name="connsiteY6" fmla="*/ 369113 h 421851"/>
                    <a:gd name="connsiteX7" fmla="*/ 361794 w 551492"/>
                    <a:gd name="connsiteY7" fmla="*/ 308363 h 421851"/>
                    <a:gd name="connsiteX8" fmla="*/ 313904 w 551492"/>
                    <a:gd name="connsiteY8" fmla="*/ 172924 h 421851"/>
                    <a:gd name="connsiteX9" fmla="*/ 530832 w 551492"/>
                    <a:gd name="connsiteY9" fmla="*/ 172924 h 421851"/>
                    <a:gd name="connsiteX10" fmla="*/ 551492 w 551492"/>
                    <a:gd name="connsiteY10" fmla="*/ 193548 h 421851"/>
                    <a:gd name="connsiteX11" fmla="*/ 551492 w 551492"/>
                    <a:gd name="connsiteY11" fmla="*/ 225772 h 421851"/>
                    <a:gd name="connsiteX12" fmla="*/ 530832 w 551492"/>
                    <a:gd name="connsiteY12" fmla="*/ 247685 h 421851"/>
                    <a:gd name="connsiteX13" fmla="*/ 271293 w 551492"/>
                    <a:gd name="connsiteY13" fmla="*/ 247685 h 421851"/>
                    <a:gd name="connsiteX14" fmla="*/ 271293 w 551492"/>
                    <a:gd name="connsiteY14" fmla="*/ 227061 h 421851"/>
                    <a:gd name="connsiteX15" fmla="*/ 272584 w 551492"/>
                    <a:gd name="connsiteY15" fmla="*/ 224483 h 421851"/>
                    <a:gd name="connsiteX16" fmla="*/ 313904 w 551492"/>
                    <a:gd name="connsiteY16" fmla="*/ 172924 h 421851"/>
                    <a:gd name="connsiteX17" fmla="*/ 281648 w 551492"/>
                    <a:gd name="connsiteY17" fmla="*/ 36241 h 421851"/>
                    <a:gd name="connsiteX18" fmla="*/ 530834 w 551492"/>
                    <a:gd name="connsiteY18" fmla="*/ 36241 h 421851"/>
                    <a:gd name="connsiteX19" fmla="*/ 551492 w 551492"/>
                    <a:gd name="connsiteY19" fmla="*/ 58154 h 421851"/>
                    <a:gd name="connsiteX20" fmla="*/ 551492 w 551492"/>
                    <a:gd name="connsiteY20" fmla="*/ 90378 h 421851"/>
                    <a:gd name="connsiteX21" fmla="*/ 530834 w 551492"/>
                    <a:gd name="connsiteY21" fmla="*/ 111002 h 421851"/>
                    <a:gd name="connsiteX22" fmla="*/ 308761 w 551492"/>
                    <a:gd name="connsiteY22" fmla="*/ 111002 h 421851"/>
                    <a:gd name="connsiteX23" fmla="*/ 295850 w 551492"/>
                    <a:gd name="connsiteY23" fmla="*/ 96823 h 421851"/>
                    <a:gd name="connsiteX24" fmla="*/ 281648 w 551492"/>
                    <a:gd name="connsiteY24" fmla="*/ 36241 h 421851"/>
                    <a:gd name="connsiteX25" fmla="*/ 176987 w 551492"/>
                    <a:gd name="connsiteY25" fmla="*/ 0 h 421851"/>
                    <a:gd name="connsiteX26" fmla="*/ 271294 w 551492"/>
                    <a:gd name="connsiteY26" fmla="*/ 117396 h 421851"/>
                    <a:gd name="connsiteX27" fmla="*/ 276461 w 551492"/>
                    <a:gd name="connsiteY27" fmla="*/ 117396 h 421851"/>
                    <a:gd name="connsiteX28" fmla="*/ 290672 w 551492"/>
                    <a:gd name="connsiteY28" fmla="*/ 152228 h 421851"/>
                    <a:gd name="connsiteX29" fmla="*/ 262251 w 551492"/>
                    <a:gd name="connsiteY29" fmla="*/ 199960 h 421851"/>
                    <a:gd name="connsiteX30" fmla="*/ 257083 w 551492"/>
                    <a:gd name="connsiteY30" fmla="*/ 197380 h 421851"/>
                    <a:gd name="connsiteX31" fmla="*/ 224786 w 551492"/>
                    <a:gd name="connsiteY31" fmla="*/ 247692 h 421851"/>
                    <a:gd name="connsiteX32" fmla="*/ 219619 w 551492"/>
                    <a:gd name="connsiteY32" fmla="*/ 259303 h 421851"/>
                    <a:gd name="connsiteX33" fmla="*/ 241581 w 551492"/>
                    <a:gd name="connsiteY33" fmla="*/ 279944 h 421851"/>
                    <a:gd name="connsiteX34" fmla="*/ 263543 w 551492"/>
                    <a:gd name="connsiteY34" fmla="*/ 279944 h 421851"/>
                    <a:gd name="connsiteX35" fmla="*/ 352682 w 551492"/>
                    <a:gd name="connsiteY35" fmla="*/ 368958 h 421851"/>
                    <a:gd name="connsiteX36" fmla="*/ 352682 w 551492"/>
                    <a:gd name="connsiteY36" fmla="*/ 393470 h 421851"/>
                    <a:gd name="connsiteX37" fmla="*/ 325553 w 551492"/>
                    <a:gd name="connsiteY37" fmla="*/ 421851 h 421851"/>
                    <a:gd name="connsiteX38" fmla="*/ 28421 w 551492"/>
                    <a:gd name="connsiteY38" fmla="*/ 421851 h 421851"/>
                    <a:gd name="connsiteX39" fmla="*/ 0 w 551492"/>
                    <a:gd name="connsiteY39" fmla="*/ 393470 h 421851"/>
                    <a:gd name="connsiteX40" fmla="*/ 0 w 551492"/>
                    <a:gd name="connsiteY40" fmla="*/ 368958 h 421851"/>
                    <a:gd name="connsiteX41" fmla="*/ 89139 w 551492"/>
                    <a:gd name="connsiteY41" fmla="*/ 279944 h 421851"/>
                    <a:gd name="connsiteX42" fmla="*/ 112393 w 551492"/>
                    <a:gd name="connsiteY42" fmla="*/ 279944 h 421851"/>
                    <a:gd name="connsiteX43" fmla="*/ 133063 w 551492"/>
                    <a:gd name="connsiteY43" fmla="*/ 259303 h 421851"/>
                    <a:gd name="connsiteX44" fmla="*/ 127896 w 551492"/>
                    <a:gd name="connsiteY44" fmla="*/ 247692 h 421851"/>
                    <a:gd name="connsiteX45" fmla="*/ 95599 w 551492"/>
                    <a:gd name="connsiteY45" fmla="*/ 198670 h 421851"/>
                    <a:gd name="connsiteX46" fmla="*/ 91723 w 551492"/>
                    <a:gd name="connsiteY46" fmla="*/ 199960 h 421851"/>
                    <a:gd name="connsiteX47" fmla="*/ 63302 w 551492"/>
                    <a:gd name="connsiteY47" fmla="*/ 152228 h 421851"/>
                    <a:gd name="connsiteX48" fmla="*/ 78804 w 551492"/>
                    <a:gd name="connsiteY48" fmla="*/ 117396 h 421851"/>
                    <a:gd name="connsiteX49" fmla="*/ 81388 w 551492"/>
                    <a:gd name="connsiteY49" fmla="*/ 117396 h 421851"/>
                    <a:gd name="connsiteX50" fmla="*/ 176987 w 551492"/>
                    <a:gd name="connsiteY50" fmla="*/ 0 h 42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551492" h="421851">
                      <a:moveTo>
                        <a:pt x="361794" y="308363"/>
                      </a:moveTo>
                      <a:lnTo>
                        <a:pt x="530845" y="308363"/>
                      </a:lnTo>
                      <a:cubicBezTo>
                        <a:pt x="541168" y="308363"/>
                        <a:pt x="551492" y="317411"/>
                        <a:pt x="551492" y="329044"/>
                      </a:cubicBezTo>
                      <a:lnTo>
                        <a:pt x="551492" y="362650"/>
                      </a:lnTo>
                      <a:cubicBezTo>
                        <a:pt x="551492" y="374283"/>
                        <a:pt x="541168" y="383331"/>
                        <a:pt x="530845" y="383331"/>
                      </a:cubicBezTo>
                      <a:lnTo>
                        <a:pt x="378570" y="383331"/>
                      </a:lnTo>
                      <a:lnTo>
                        <a:pt x="378570" y="369113"/>
                      </a:lnTo>
                      <a:cubicBezTo>
                        <a:pt x="378570" y="347140"/>
                        <a:pt x="372118" y="326459"/>
                        <a:pt x="361794" y="308363"/>
                      </a:cubicBezTo>
                      <a:close/>
                      <a:moveTo>
                        <a:pt x="313904" y="172924"/>
                      </a:moveTo>
                      <a:lnTo>
                        <a:pt x="530832" y="172924"/>
                      </a:lnTo>
                      <a:cubicBezTo>
                        <a:pt x="541162" y="172924"/>
                        <a:pt x="551492" y="181947"/>
                        <a:pt x="551492" y="193548"/>
                      </a:cubicBezTo>
                      <a:lnTo>
                        <a:pt x="551492" y="225772"/>
                      </a:lnTo>
                      <a:cubicBezTo>
                        <a:pt x="551492" y="237373"/>
                        <a:pt x="541162" y="247685"/>
                        <a:pt x="530832" y="247685"/>
                      </a:cubicBezTo>
                      <a:lnTo>
                        <a:pt x="271293" y="247685"/>
                      </a:lnTo>
                      <a:lnTo>
                        <a:pt x="271293" y="227061"/>
                      </a:lnTo>
                      <a:cubicBezTo>
                        <a:pt x="271293" y="225772"/>
                        <a:pt x="272584" y="225772"/>
                        <a:pt x="272584" y="224483"/>
                      </a:cubicBezTo>
                      <a:cubicBezTo>
                        <a:pt x="293244" y="218038"/>
                        <a:pt x="307448" y="194837"/>
                        <a:pt x="313904" y="172924"/>
                      </a:cubicBezTo>
                      <a:close/>
                      <a:moveTo>
                        <a:pt x="281648" y="36241"/>
                      </a:moveTo>
                      <a:lnTo>
                        <a:pt x="530834" y="36241"/>
                      </a:lnTo>
                      <a:cubicBezTo>
                        <a:pt x="541163" y="36241"/>
                        <a:pt x="551492" y="46553"/>
                        <a:pt x="551492" y="58154"/>
                      </a:cubicBezTo>
                      <a:lnTo>
                        <a:pt x="551492" y="90378"/>
                      </a:lnTo>
                      <a:cubicBezTo>
                        <a:pt x="551492" y="101979"/>
                        <a:pt x="541163" y="111002"/>
                        <a:pt x="530834" y="111002"/>
                      </a:cubicBezTo>
                      <a:lnTo>
                        <a:pt x="308761" y="111002"/>
                      </a:lnTo>
                      <a:cubicBezTo>
                        <a:pt x="304888" y="104557"/>
                        <a:pt x="301015" y="99401"/>
                        <a:pt x="295850" y="96823"/>
                      </a:cubicBezTo>
                      <a:cubicBezTo>
                        <a:pt x="293268" y="72333"/>
                        <a:pt x="288104" y="52998"/>
                        <a:pt x="281648" y="36241"/>
                      </a:cubicBezTo>
                      <a:close/>
                      <a:moveTo>
                        <a:pt x="176987" y="0"/>
                      </a:moveTo>
                      <a:cubicBezTo>
                        <a:pt x="257083" y="0"/>
                        <a:pt x="270002" y="64503"/>
                        <a:pt x="271294" y="117396"/>
                      </a:cubicBezTo>
                      <a:cubicBezTo>
                        <a:pt x="272586" y="117396"/>
                        <a:pt x="273878" y="117396"/>
                        <a:pt x="276461" y="117396"/>
                      </a:cubicBezTo>
                      <a:cubicBezTo>
                        <a:pt x="289380" y="117396"/>
                        <a:pt x="290672" y="132877"/>
                        <a:pt x="290672" y="152228"/>
                      </a:cubicBezTo>
                      <a:cubicBezTo>
                        <a:pt x="290672" y="171579"/>
                        <a:pt x="275169" y="199960"/>
                        <a:pt x="262251" y="199960"/>
                      </a:cubicBezTo>
                      <a:cubicBezTo>
                        <a:pt x="260959" y="199960"/>
                        <a:pt x="258375" y="198670"/>
                        <a:pt x="257083" y="197380"/>
                      </a:cubicBezTo>
                      <a:cubicBezTo>
                        <a:pt x="249332" y="216731"/>
                        <a:pt x="237705" y="233502"/>
                        <a:pt x="224786" y="247692"/>
                      </a:cubicBezTo>
                      <a:cubicBezTo>
                        <a:pt x="220911" y="250272"/>
                        <a:pt x="219619" y="254143"/>
                        <a:pt x="219619" y="259303"/>
                      </a:cubicBezTo>
                      <a:cubicBezTo>
                        <a:pt x="219619" y="270913"/>
                        <a:pt x="228662" y="279944"/>
                        <a:pt x="241581" y="279944"/>
                      </a:cubicBezTo>
                      <a:lnTo>
                        <a:pt x="263543" y="279944"/>
                      </a:lnTo>
                      <a:cubicBezTo>
                        <a:pt x="312634" y="279944"/>
                        <a:pt x="352682" y="319936"/>
                        <a:pt x="352682" y="368958"/>
                      </a:cubicBezTo>
                      <a:lnTo>
                        <a:pt x="352682" y="393470"/>
                      </a:lnTo>
                      <a:cubicBezTo>
                        <a:pt x="352682" y="408950"/>
                        <a:pt x="341055" y="421851"/>
                        <a:pt x="325553" y="421851"/>
                      </a:cubicBezTo>
                      <a:lnTo>
                        <a:pt x="28421" y="421851"/>
                      </a:lnTo>
                      <a:cubicBezTo>
                        <a:pt x="12919" y="421851"/>
                        <a:pt x="0" y="408950"/>
                        <a:pt x="0" y="393470"/>
                      </a:cubicBezTo>
                      <a:lnTo>
                        <a:pt x="0" y="368958"/>
                      </a:lnTo>
                      <a:cubicBezTo>
                        <a:pt x="0" y="319936"/>
                        <a:pt x="40048" y="279944"/>
                        <a:pt x="89139" y="279944"/>
                      </a:cubicBezTo>
                      <a:lnTo>
                        <a:pt x="112393" y="279944"/>
                      </a:lnTo>
                      <a:cubicBezTo>
                        <a:pt x="124020" y="279944"/>
                        <a:pt x="133063" y="270913"/>
                        <a:pt x="133063" y="259303"/>
                      </a:cubicBezTo>
                      <a:cubicBezTo>
                        <a:pt x="133063" y="254143"/>
                        <a:pt x="131771" y="250272"/>
                        <a:pt x="127896" y="247692"/>
                      </a:cubicBezTo>
                      <a:cubicBezTo>
                        <a:pt x="114977" y="234792"/>
                        <a:pt x="104642" y="216731"/>
                        <a:pt x="95599" y="198670"/>
                      </a:cubicBezTo>
                      <a:cubicBezTo>
                        <a:pt x="94307" y="199960"/>
                        <a:pt x="93015" y="199960"/>
                        <a:pt x="91723" y="199960"/>
                      </a:cubicBezTo>
                      <a:cubicBezTo>
                        <a:pt x="78804" y="199960"/>
                        <a:pt x="63302" y="171579"/>
                        <a:pt x="63302" y="152228"/>
                      </a:cubicBezTo>
                      <a:cubicBezTo>
                        <a:pt x="63302" y="132877"/>
                        <a:pt x="65886" y="117396"/>
                        <a:pt x="78804" y="117396"/>
                      </a:cubicBezTo>
                      <a:cubicBezTo>
                        <a:pt x="80096" y="117396"/>
                        <a:pt x="80096" y="117396"/>
                        <a:pt x="81388" y="117396"/>
                      </a:cubicBezTo>
                      <a:cubicBezTo>
                        <a:pt x="82680" y="64503"/>
                        <a:pt x="93015" y="0"/>
                        <a:pt x="17698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iṧḻîďé">
                  <a:extLst>
                    <a:ext uri="{FF2B5EF4-FFF2-40B4-BE49-F238E27FC236}">
                      <a16:creationId xmlns:a16="http://schemas.microsoft.com/office/drawing/2014/main" id="{3A45203E-C90F-4D81-B2A9-E4BBBC73C33D}"/>
                    </a:ext>
                  </a:extLst>
                </p:cNvPr>
                <p:cNvSpPr txBox="1"/>
                <p:nvPr/>
              </p:nvSpPr>
              <p:spPr>
                <a:xfrm>
                  <a:off x="6477000" y="4891884"/>
                  <a:ext cx="1783976" cy="36142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EB68607A-B61D-4D20-A947-4BFD640D37FB}"/>
                    </a:ext>
                  </a:extLst>
                </p:cNvPr>
                <p:cNvCxnSpPr/>
                <p:nvPr/>
              </p:nvCxnSpPr>
              <p:spPr>
                <a:xfrm>
                  <a:off x="6519583" y="4669492"/>
                  <a:ext cx="1698810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7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" name="îṡḻiḋê">
                  <a:extLst>
                    <a:ext uri="{FF2B5EF4-FFF2-40B4-BE49-F238E27FC236}">
                      <a16:creationId xmlns:a16="http://schemas.microsoft.com/office/drawing/2014/main" id="{89D0941E-5EA8-4E24-856B-21D6505A64BE}"/>
                    </a:ext>
                  </a:extLst>
                </p:cNvPr>
                <p:cNvSpPr/>
                <p:nvPr/>
              </p:nvSpPr>
              <p:spPr>
                <a:xfrm>
                  <a:off x="6477000" y="3733875"/>
                  <a:ext cx="1783976" cy="442647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ctr"/>
                  <a:r>
                    <a:rPr lang="en-US" altLang="zh-CN" sz="2000" b="1" i="1" dirty="0">
                      <a:solidFill>
                        <a:schemeClr val="accent1"/>
                      </a:solidFill>
                    </a:rPr>
                    <a:t>03</a:t>
                  </a:r>
                </a:p>
              </p:txBody>
            </p:sp>
            <p:sp>
              <p:nvSpPr>
                <p:cNvPr id="22" name="íṧḻiḍè">
                  <a:extLst>
                    <a:ext uri="{FF2B5EF4-FFF2-40B4-BE49-F238E27FC236}">
                      <a16:creationId xmlns:a16="http://schemas.microsoft.com/office/drawing/2014/main" id="{E9B9FA7B-7466-4650-9379-293B5B88D4FE}"/>
                    </a:ext>
                  </a:extLst>
                </p:cNvPr>
                <p:cNvSpPr txBox="1"/>
                <p:nvPr/>
              </p:nvSpPr>
              <p:spPr>
                <a:xfrm>
                  <a:off x="6477000" y="4176522"/>
                  <a:ext cx="1783976" cy="3817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b="1" dirty="0"/>
                    <a:t>Demo</a:t>
                  </a:r>
                  <a:r>
                    <a:rPr lang="zh-CN" altLang="en-US" b="1" dirty="0"/>
                    <a:t>演示</a:t>
                  </a:r>
                  <a:endParaRPr lang="en-US" altLang="zh-CN" b="1" dirty="0"/>
                </a:p>
              </p:txBody>
            </p:sp>
          </p:grpSp>
          <p:grpSp>
            <p:nvGrpSpPr>
              <p:cNvPr id="10" name="íṥḻïḑe">
                <a:extLst>
                  <a:ext uri="{FF2B5EF4-FFF2-40B4-BE49-F238E27FC236}">
                    <a16:creationId xmlns:a16="http://schemas.microsoft.com/office/drawing/2014/main" id="{56E3351B-25C8-4870-A1D4-2DA1B866A95F}"/>
                  </a:ext>
                </a:extLst>
              </p:cNvPr>
              <p:cNvGrpSpPr/>
              <p:nvPr/>
            </p:nvGrpSpPr>
            <p:grpSpPr>
              <a:xfrm>
                <a:off x="8892426" y="2573151"/>
                <a:ext cx="1909482" cy="2883834"/>
                <a:chOff x="8960223" y="2573151"/>
                <a:chExt cx="1909482" cy="2883834"/>
              </a:xfrm>
            </p:grpSpPr>
            <p:sp>
              <p:nvSpPr>
                <p:cNvPr id="11" name="ïṣ1íḋè">
                  <a:extLst>
                    <a:ext uri="{FF2B5EF4-FFF2-40B4-BE49-F238E27FC236}">
                      <a16:creationId xmlns:a16="http://schemas.microsoft.com/office/drawing/2014/main" id="{807AA6DA-B2A2-420D-867E-449D356DCAE6}"/>
                    </a:ext>
                  </a:extLst>
                </p:cNvPr>
                <p:cNvSpPr/>
                <p:nvPr/>
              </p:nvSpPr>
              <p:spPr>
                <a:xfrm>
                  <a:off x="8960223" y="2573151"/>
                  <a:ext cx="1909482" cy="2883834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>
                  <a:outerShdw blurRad="63500" dist="25400" dir="2700000" algn="tl" rotWithShape="0">
                    <a:prstClr val="black">
                      <a:alpha val="15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išľíḋé">
                  <a:extLst>
                    <a:ext uri="{FF2B5EF4-FFF2-40B4-BE49-F238E27FC236}">
                      <a16:creationId xmlns:a16="http://schemas.microsoft.com/office/drawing/2014/main" id="{FB96AA67-1AD4-4AE9-9B62-DF090F1CCB10}"/>
                    </a:ext>
                  </a:extLst>
                </p:cNvPr>
                <p:cNvSpPr/>
                <p:nvPr/>
              </p:nvSpPr>
              <p:spPr>
                <a:xfrm>
                  <a:off x="9717741" y="2979908"/>
                  <a:ext cx="394446" cy="347210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íṧḻîḋé">
                  <a:extLst>
                    <a:ext uri="{FF2B5EF4-FFF2-40B4-BE49-F238E27FC236}">
                      <a16:creationId xmlns:a16="http://schemas.microsoft.com/office/drawing/2014/main" id="{89537FEE-FF04-4F25-A19E-617E06F23A24}"/>
                    </a:ext>
                  </a:extLst>
                </p:cNvPr>
                <p:cNvSpPr txBox="1"/>
                <p:nvPr/>
              </p:nvSpPr>
              <p:spPr>
                <a:xfrm>
                  <a:off x="9022976" y="4891884"/>
                  <a:ext cx="1783976" cy="36142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CC224618-622D-4770-A7DB-A7F8D7DFE5DF}"/>
                    </a:ext>
                  </a:extLst>
                </p:cNvPr>
                <p:cNvCxnSpPr/>
                <p:nvPr/>
              </p:nvCxnSpPr>
              <p:spPr>
                <a:xfrm>
                  <a:off x="9065559" y="4669492"/>
                  <a:ext cx="1698810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7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" name="îSḷîḋe">
                  <a:extLst>
                    <a:ext uri="{FF2B5EF4-FFF2-40B4-BE49-F238E27FC236}">
                      <a16:creationId xmlns:a16="http://schemas.microsoft.com/office/drawing/2014/main" id="{8DC32015-0550-4FDD-BF5A-E8806C3D2F0D}"/>
                    </a:ext>
                  </a:extLst>
                </p:cNvPr>
                <p:cNvSpPr/>
                <p:nvPr/>
              </p:nvSpPr>
              <p:spPr>
                <a:xfrm>
                  <a:off x="9022976" y="3733875"/>
                  <a:ext cx="1783976" cy="442647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ctr"/>
                  <a:r>
                    <a:rPr lang="en-US" altLang="zh-CN" sz="2000" b="1" i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rPr>
                    <a:t>04</a:t>
                  </a:r>
                </a:p>
              </p:txBody>
            </p:sp>
            <p:sp>
              <p:nvSpPr>
                <p:cNvPr id="16" name="i$lîďé">
                  <a:extLst>
                    <a:ext uri="{FF2B5EF4-FFF2-40B4-BE49-F238E27FC236}">
                      <a16:creationId xmlns:a16="http://schemas.microsoft.com/office/drawing/2014/main" id="{580507A7-E55F-4AB9-A841-68CF59F2054B}"/>
                    </a:ext>
                  </a:extLst>
                </p:cNvPr>
                <p:cNvSpPr txBox="1"/>
                <p:nvPr/>
              </p:nvSpPr>
              <p:spPr>
                <a:xfrm>
                  <a:off x="9022976" y="4176522"/>
                  <a:ext cx="1783976" cy="38177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b="1" dirty="0"/>
                    <a:t>问题讨论</a:t>
                  </a:r>
                  <a:endParaRPr lang="en-US" altLang="zh-CN" b="1" dirty="0"/>
                </a:p>
              </p:txBody>
            </p:sp>
          </p:grpSp>
        </p:grpSp>
        <p:grpSp>
          <p:nvGrpSpPr>
            <p:cNvPr id="4" name="ïšḻídè">
              <a:extLst>
                <a:ext uri="{FF2B5EF4-FFF2-40B4-BE49-F238E27FC236}">
                  <a16:creationId xmlns:a16="http://schemas.microsoft.com/office/drawing/2014/main" id="{352128CF-BA4F-4BE2-B698-C84012E4917B}"/>
                </a:ext>
              </a:extLst>
            </p:cNvPr>
            <p:cNvGrpSpPr/>
            <p:nvPr/>
          </p:nvGrpSpPr>
          <p:grpSpPr>
            <a:xfrm>
              <a:off x="673100" y="1228912"/>
              <a:ext cx="10845800" cy="646331"/>
              <a:chOff x="673100" y="1228912"/>
              <a:chExt cx="10845800" cy="646331"/>
            </a:xfrm>
          </p:grpSpPr>
          <p:cxnSp>
            <p:nvCxnSpPr>
              <p:cNvPr id="5" name="直接连接符 4">
                <a:extLst>
                  <a:ext uri="{FF2B5EF4-FFF2-40B4-BE49-F238E27FC236}">
                    <a16:creationId xmlns:a16="http://schemas.microsoft.com/office/drawing/2014/main" id="{D7090BB8-4842-447B-8269-0F086FEC5EBA}"/>
                  </a:ext>
                </a:extLst>
              </p:cNvPr>
              <p:cNvCxnSpPr/>
              <p:nvPr/>
            </p:nvCxnSpPr>
            <p:spPr>
              <a:xfrm>
                <a:off x="673100" y="1552077"/>
                <a:ext cx="10845800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" name="ï$ḻíďè">
                <a:extLst>
                  <a:ext uri="{FF2B5EF4-FFF2-40B4-BE49-F238E27FC236}">
                    <a16:creationId xmlns:a16="http://schemas.microsoft.com/office/drawing/2014/main" id="{B4774E9E-4455-4E87-84A4-7A91B4BA2EE2}"/>
                  </a:ext>
                </a:extLst>
              </p:cNvPr>
              <p:cNvSpPr txBox="1"/>
              <p:nvPr/>
            </p:nvSpPr>
            <p:spPr>
              <a:xfrm>
                <a:off x="4563035" y="1228912"/>
                <a:ext cx="3065930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sz="3600" b="1" dirty="0"/>
                  <a:t>CONTENT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37529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Image</a:t>
            </a:r>
            <a:endParaRPr kumimoji="1"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C4BD7CE-2338-AB46-8F03-CD103FD03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6" name="内容占位符 10">
            <a:extLst>
              <a:ext uri="{FF2B5EF4-FFF2-40B4-BE49-F238E27FC236}">
                <a16:creationId xmlns:a16="http://schemas.microsoft.com/office/drawing/2014/main" id="{8CCF0F04-AF73-C447-802A-EAD1553DC5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024" y="1154582"/>
            <a:ext cx="6611815" cy="4959999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F3C8564-70AD-D74E-BC7A-251C66A66941}"/>
              </a:ext>
            </a:extLst>
          </p:cNvPr>
          <p:cNvSpPr/>
          <p:nvPr/>
        </p:nvSpPr>
        <p:spPr>
          <a:xfrm>
            <a:off x="4032738" y="1154582"/>
            <a:ext cx="1512277" cy="5804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5DC9066-184F-9F47-B437-4B0165D5A91B}"/>
              </a:ext>
            </a:extLst>
          </p:cNvPr>
          <p:cNvSpPr/>
          <p:nvPr/>
        </p:nvSpPr>
        <p:spPr>
          <a:xfrm>
            <a:off x="4032737" y="1735015"/>
            <a:ext cx="1512277" cy="5861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322326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BAD07C-F6ED-564F-BC26-2E2B349DC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A82AF7B-8035-2644-91C4-165BBD14B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1A8769-4EE9-4948-B48F-9F49B098D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5588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7F6DB6-5598-4A8F-A730-861AA1FF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ime machin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0A6A0F1-0D1D-49F6-BAC3-11548F676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请在插入菜单</a:t>
            </a:r>
            <a:r>
              <a:rPr lang="en-US" altLang="zh-CN" dirty="0"/>
              <a:t>—</a:t>
            </a:r>
            <a:r>
              <a:rPr lang="zh-CN" altLang="en-US" dirty="0"/>
              <a:t>页眉和页脚中修改此文本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1A17884-381F-46CF-BB54-5F32D8B49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5" name="24936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E82B6BE-8C8B-47A6-8018-045BA0857CE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099" y="1123950"/>
            <a:ext cx="10845801" cy="5022850"/>
            <a:chOff x="673099" y="1123950"/>
            <a:chExt cx="10845801" cy="5022850"/>
          </a:xfrm>
        </p:grpSpPr>
        <p:sp>
          <p:nvSpPr>
            <p:cNvPr id="6" name="işḷîďè">
              <a:extLst>
                <a:ext uri="{FF2B5EF4-FFF2-40B4-BE49-F238E27FC236}">
                  <a16:creationId xmlns:a16="http://schemas.microsoft.com/office/drawing/2014/main" id="{C0B4E0E5-2581-4D41-84D4-201DBDE27AC1}"/>
                </a:ext>
              </a:extLst>
            </p:cNvPr>
            <p:cNvSpPr/>
            <p:nvPr/>
          </p:nvSpPr>
          <p:spPr>
            <a:xfrm>
              <a:off x="1593202" y="1504950"/>
              <a:ext cx="9925698" cy="3750287"/>
            </a:xfrm>
            <a:prstGeom prst="swooshArrow">
              <a:avLst>
                <a:gd name="adj1" fmla="val 25000"/>
                <a:gd name="adj2" fmla="val 25000"/>
              </a:avLst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grpSp>
          <p:nvGrpSpPr>
            <p:cNvPr id="7" name="išlïḍè">
              <a:extLst>
                <a:ext uri="{FF2B5EF4-FFF2-40B4-BE49-F238E27FC236}">
                  <a16:creationId xmlns:a16="http://schemas.microsoft.com/office/drawing/2014/main" id="{47FDC1E4-6E10-4489-890E-D9AEB0D6E91B}"/>
                </a:ext>
              </a:extLst>
            </p:cNvPr>
            <p:cNvGrpSpPr/>
            <p:nvPr/>
          </p:nvGrpSpPr>
          <p:grpSpPr>
            <a:xfrm>
              <a:off x="892560" y="4751531"/>
              <a:ext cx="920407" cy="1395269"/>
              <a:chOff x="2222287" y="4786374"/>
              <a:chExt cx="920407" cy="1395269"/>
            </a:xfrm>
          </p:grpSpPr>
          <p:sp>
            <p:nvSpPr>
              <p:cNvPr id="28" name="îS1ïďè">
                <a:extLst>
                  <a:ext uri="{FF2B5EF4-FFF2-40B4-BE49-F238E27FC236}">
                    <a16:creationId xmlns:a16="http://schemas.microsoft.com/office/drawing/2014/main" id="{EA061B43-1715-4BDE-A993-E0B82A469507}"/>
                  </a:ext>
                </a:extLst>
              </p:cNvPr>
              <p:cNvSpPr/>
              <p:nvPr/>
            </p:nvSpPr>
            <p:spPr bwMode="auto">
              <a:xfrm rot="2558348">
                <a:off x="2306288" y="4786374"/>
                <a:ext cx="836406" cy="1395269"/>
              </a:xfrm>
              <a:custGeom>
                <a:avLst/>
                <a:gdLst>
                  <a:gd name="T0" fmla="*/ 50 w 184"/>
                  <a:gd name="T1" fmla="*/ 310 h 310"/>
                  <a:gd name="T2" fmla="*/ 32 w 184"/>
                  <a:gd name="T3" fmla="*/ 282 h 310"/>
                  <a:gd name="T4" fmla="*/ 10 w 184"/>
                  <a:gd name="T5" fmla="*/ 199 h 310"/>
                  <a:gd name="T6" fmla="*/ 39 w 184"/>
                  <a:gd name="T7" fmla="*/ 171 h 310"/>
                  <a:gd name="T8" fmla="*/ 30 w 184"/>
                  <a:gd name="T9" fmla="*/ 116 h 310"/>
                  <a:gd name="T10" fmla="*/ 36 w 184"/>
                  <a:gd name="T11" fmla="*/ 73 h 310"/>
                  <a:gd name="T12" fmla="*/ 36 w 184"/>
                  <a:gd name="T13" fmla="*/ 72 h 310"/>
                  <a:gd name="T14" fmla="*/ 92 w 184"/>
                  <a:gd name="T15" fmla="*/ 0 h 310"/>
                  <a:gd name="T16" fmla="*/ 148 w 184"/>
                  <a:gd name="T17" fmla="*/ 72 h 310"/>
                  <a:gd name="T18" fmla="*/ 148 w 184"/>
                  <a:gd name="T19" fmla="*/ 73 h 310"/>
                  <a:gd name="T20" fmla="*/ 155 w 184"/>
                  <a:gd name="T21" fmla="*/ 116 h 310"/>
                  <a:gd name="T22" fmla="*/ 145 w 184"/>
                  <a:gd name="T23" fmla="*/ 171 h 310"/>
                  <a:gd name="T24" fmla="*/ 174 w 184"/>
                  <a:gd name="T25" fmla="*/ 199 h 310"/>
                  <a:gd name="T26" fmla="*/ 153 w 184"/>
                  <a:gd name="T27" fmla="*/ 282 h 310"/>
                  <a:gd name="T28" fmla="*/ 134 w 184"/>
                  <a:gd name="T29" fmla="*/ 310 h 310"/>
                  <a:gd name="T30" fmla="*/ 134 w 184"/>
                  <a:gd name="T31" fmla="*/ 276 h 310"/>
                  <a:gd name="T32" fmla="*/ 118 w 184"/>
                  <a:gd name="T33" fmla="*/ 239 h 310"/>
                  <a:gd name="T34" fmla="*/ 118 w 184"/>
                  <a:gd name="T35" fmla="*/ 240 h 310"/>
                  <a:gd name="T36" fmla="*/ 115 w 184"/>
                  <a:gd name="T37" fmla="*/ 246 h 310"/>
                  <a:gd name="T38" fmla="*/ 108 w 184"/>
                  <a:gd name="T39" fmla="*/ 245 h 310"/>
                  <a:gd name="T40" fmla="*/ 76 w 184"/>
                  <a:gd name="T41" fmla="*/ 245 h 310"/>
                  <a:gd name="T42" fmla="*/ 69 w 184"/>
                  <a:gd name="T43" fmla="*/ 246 h 310"/>
                  <a:gd name="T44" fmla="*/ 66 w 184"/>
                  <a:gd name="T45" fmla="*/ 240 h 310"/>
                  <a:gd name="T46" fmla="*/ 66 w 184"/>
                  <a:gd name="T47" fmla="*/ 239 h 310"/>
                  <a:gd name="T48" fmla="*/ 50 w 184"/>
                  <a:gd name="T49" fmla="*/ 276 h 310"/>
                  <a:gd name="T50" fmla="*/ 50 w 184"/>
                  <a:gd name="T51" fmla="*/ 310 h 310"/>
                  <a:gd name="T52" fmla="*/ 55 w 184"/>
                  <a:gd name="T53" fmla="*/ 79 h 310"/>
                  <a:gd name="T54" fmla="*/ 50 w 184"/>
                  <a:gd name="T55" fmla="*/ 116 h 310"/>
                  <a:gd name="T56" fmla="*/ 61 w 184"/>
                  <a:gd name="T57" fmla="*/ 174 h 310"/>
                  <a:gd name="T58" fmla="*/ 64 w 184"/>
                  <a:gd name="T59" fmla="*/ 184 h 310"/>
                  <a:gd name="T60" fmla="*/ 54 w 184"/>
                  <a:gd name="T61" fmla="*/ 187 h 310"/>
                  <a:gd name="T62" fmla="*/ 29 w 184"/>
                  <a:gd name="T63" fmla="*/ 205 h 310"/>
                  <a:gd name="T64" fmla="*/ 36 w 184"/>
                  <a:gd name="T65" fmla="*/ 247 h 310"/>
                  <a:gd name="T66" fmla="*/ 65 w 184"/>
                  <a:gd name="T67" fmla="*/ 215 h 310"/>
                  <a:gd name="T68" fmla="*/ 74 w 184"/>
                  <a:gd name="T69" fmla="*/ 209 h 310"/>
                  <a:gd name="T70" fmla="*/ 79 w 184"/>
                  <a:gd name="T71" fmla="*/ 219 h 310"/>
                  <a:gd name="T72" fmla="*/ 82 w 184"/>
                  <a:gd name="T73" fmla="*/ 225 h 310"/>
                  <a:gd name="T74" fmla="*/ 103 w 184"/>
                  <a:gd name="T75" fmla="*/ 225 h 310"/>
                  <a:gd name="T76" fmla="*/ 105 w 184"/>
                  <a:gd name="T77" fmla="*/ 219 h 310"/>
                  <a:gd name="T78" fmla="*/ 110 w 184"/>
                  <a:gd name="T79" fmla="*/ 209 h 310"/>
                  <a:gd name="T80" fmla="*/ 120 w 184"/>
                  <a:gd name="T81" fmla="*/ 215 h 310"/>
                  <a:gd name="T82" fmla="*/ 148 w 184"/>
                  <a:gd name="T83" fmla="*/ 247 h 310"/>
                  <a:gd name="T84" fmla="*/ 155 w 184"/>
                  <a:gd name="T85" fmla="*/ 205 h 310"/>
                  <a:gd name="T86" fmla="*/ 130 w 184"/>
                  <a:gd name="T87" fmla="*/ 187 h 310"/>
                  <a:gd name="T88" fmla="*/ 120 w 184"/>
                  <a:gd name="T89" fmla="*/ 184 h 310"/>
                  <a:gd name="T90" fmla="*/ 123 w 184"/>
                  <a:gd name="T91" fmla="*/ 174 h 310"/>
                  <a:gd name="T92" fmla="*/ 135 w 184"/>
                  <a:gd name="T93" fmla="*/ 116 h 310"/>
                  <a:gd name="T94" fmla="*/ 129 w 184"/>
                  <a:gd name="T95" fmla="*/ 79 h 310"/>
                  <a:gd name="T96" fmla="*/ 92 w 184"/>
                  <a:gd name="T97" fmla="*/ 21 h 310"/>
                  <a:gd name="T98" fmla="*/ 55 w 184"/>
                  <a:gd name="T99" fmla="*/ 7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4" h="310">
                    <a:moveTo>
                      <a:pt x="50" y="310"/>
                    </a:moveTo>
                    <a:cubicBezTo>
                      <a:pt x="32" y="282"/>
                      <a:pt x="32" y="282"/>
                      <a:pt x="32" y="282"/>
                    </a:cubicBezTo>
                    <a:cubicBezTo>
                      <a:pt x="28" y="276"/>
                      <a:pt x="0" y="230"/>
                      <a:pt x="10" y="199"/>
                    </a:cubicBezTo>
                    <a:cubicBezTo>
                      <a:pt x="14" y="187"/>
                      <a:pt x="24" y="178"/>
                      <a:pt x="39" y="171"/>
                    </a:cubicBezTo>
                    <a:cubicBezTo>
                      <a:pt x="33" y="151"/>
                      <a:pt x="30" y="132"/>
                      <a:pt x="30" y="116"/>
                    </a:cubicBezTo>
                    <a:cubicBezTo>
                      <a:pt x="30" y="102"/>
                      <a:pt x="32" y="87"/>
                      <a:pt x="36" y="73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50" y="35"/>
                      <a:pt x="77" y="0"/>
                      <a:pt x="92" y="0"/>
                    </a:cubicBezTo>
                    <a:cubicBezTo>
                      <a:pt x="107" y="0"/>
                      <a:pt x="134" y="35"/>
                      <a:pt x="148" y="72"/>
                    </a:cubicBezTo>
                    <a:cubicBezTo>
                      <a:pt x="148" y="73"/>
                      <a:pt x="148" y="73"/>
                      <a:pt x="148" y="73"/>
                    </a:cubicBezTo>
                    <a:cubicBezTo>
                      <a:pt x="152" y="87"/>
                      <a:pt x="155" y="102"/>
                      <a:pt x="155" y="116"/>
                    </a:cubicBezTo>
                    <a:cubicBezTo>
                      <a:pt x="155" y="132"/>
                      <a:pt x="152" y="151"/>
                      <a:pt x="145" y="171"/>
                    </a:cubicBezTo>
                    <a:cubicBezTo>
                      <a:pt x="160" y="178"/>
                      <a:pt x="170" y="187"/>
                      <a:pt x="174" y="199"/>
                    </a:cubicBezTo>
                    <a:cubicBezTo>
                      <a:pt x="184" y="230"/>
                      <a:pt x="156" y="276"/>
                      <a:pt x="153" y="282"/>
                    </a:cubicBezTo>
                    <a:cubicBezTo>
                      <a:pt x="134" y="310"/>
                      <a:pt x="134" y="310"/>
                      <a:pt x="134" y="310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134" y="262"/>
                      <a:pt x="128" y="248"/>
                      <a:pt x="118" y="239"/>
                    </a:cubicBezTo>
                    <a:cubicBezTo>
                      <a:pt x="118" y="239"/>
                      <a:pt x="118" y="239"/>
                      <a:pt x="118" y="240"/>
                    </a:cubicBezTo>
                    <a:cubicBezTo>
                      <a:pt x="115" y="246"/>
                      <a:pt x="115" y="246"/>
                      <a:pt x="115" y="246"/>
                    </a:cubicBezTo>
                    <a:cubicBezTo>
                      <a:pt x="108" y="245"/>
                      <a:pt x="108" y="245"/>
                      <a:pt x="108" y="245"/>
                    </a:cubicBezTo>
                    <a:cubicBezTo>
                      <a:pt x="98" y="245"/>
                      <a:pt x="87" y="245"/>
                      <a:pt x="76" y="245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6" y="240"/>
                      <a:pt x="66" y="240"/>
                      <a:pt x="66" y="240"/>
                    </a:cubicBezTo>
                    <a:cubicBezTo>
                      <a:pt x="66" y="239"/>
                      <a:pt x="66" y="239"/>
                      <a:pt x="66" y="239"/>
                    </a:cubicBezTo>
                    <a:cubicBezTo>
                      <a:pt x="56" y="249"/>
                      <a:pt x="50" y="262"/>
                      <a:pt x="50" y="276"/>
                    </a:cubicBezTo>
                    <a:lnTo>
                      <a:pt x="50" y="310"/>
                    </a:lnTo>
                    <a:close/>
                    <a:moveTo>
                      <a:pt x="55" y="79"/>
                    </a:moveTo>
                    <a:cubicBezTo>
                      <a:pt x="52" y="91"/>
                      <a:pt x="50" y="104"/>
                      <a:pt x="50" y="116"/>
                    </a:cubicBezTo>
                    <a:cubicBezTo>
                      <a:pt x="50" y="132"/>
                      <a:pt x="53" y="152"/>
                      <a:pt x="61" y="17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54" y="187"/>
                      <a:pt x="54" y="187"/>
                      <a:pt x="54" y="187"/>
                    </a:cubicBezTo>
                    <a:cubicBezTo>
                      <a:pt x="45" y="190"/>
                      <a:pt x="33" y="196"/>
                      <a:pt x="29" y="205"/>
                    </a:cubicBezTo>
                    <a:cubicBezTo>
                      <a:pt x="26" y="216"/>
                      <a:pt x="30" y="233"/>
                      <a:pt x="36" y="247"/>
                    </a:cubicBezTo>
                    <a:cubicBezTo>
                      <a:pt x="42" y="234"/>
                      <a:pt x="52" y="223"/>
                      <a:pt x="65" y="215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80" y="221"/>
                      <a:pt x="81" y="223"/>
                      <a:pt x="82" y="225"/>
                    </a:cubicBezTo>
                    <a:cubicBezTo>
                      <a:pt x="89" y="225"/>
                      <a:pt x="96" y="225"/>
                      <a:pt x="103" y="225"/>
                    </a:cubicBezTo>
                    <a:cubicBezTo>
                      <a:pt x="104" y="223"/>
                      <a:pt x="105" y="221"/>
                      <a:pt x="105" y="219"/>
                    </a:cubicBezTo>
                    <a:cubicBezTo>
                      <a:pt x="110" y="209"/>
                      <a:pt x="110" y="209"/>
                      <a:pt x="110" y="209"/>
                    </a:cubicBezTo>
                    <a:cubicBezTo>
                      <a:pt x="120" y="215"/>
                      <a:pt x="120" y="215"/>
                      <a:pt x="120" y="215"/>
                    </a:cubicBezTo>
                    <a:cubicBezTo>
                      <a:pt x="133" y="223"/>
                      <a:pt x="142" y="234"/>
                      <a:pt x="148" y="247"/>
                    </a:cubicBezTo>
                    <a:cubicBezTo>
                      <a:pt x="154" y="233"/>
                      <a:pt x="159" y="216"/>
                      <a:pt x="155" y="205"/>
                    </a:cubicBezTo>
                    <a:cubicBezTo>
                      <a:pt x="152" y="196"/>
                      <a:pt x="140" y="190"/>
                      <a:pt x="130" y="187"/>
                    </a:cubicBezTo>
                    <a:cubicBezTo>
                      <a:pt x="120" y="184"/>
                      <a:pt x="120" y="184"/>
                      <a:pt x="120" y="184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31" y="152"/>
                      <a:pt x="135" y="132"/>
                      <a:pt x="135" y="116"/>
                    </a:cubicBezTo>
                    <a:cubicBezTo>
                      <a:pt x="135" y="104"/>
                      <a:pt x="133" y="91"/>
                      <a:pt x="129" y="79"/>
                    </a:cubicBezTo>
                    <a:cubicBezTo>
                      <a:pt x="117" y="47"/>
                      <a:pt x="99" y="26"/>
                      <a:pt x="92" y="21"/>
                    </a:cubicBezTo>
                    <a:cubicBezTo>
                      <a:pt x="85" y="26"/>
                      <a:pt x="67" y="47"/>
                      <a:pt x="55" y="7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29" name="ïşlîḓe">
                <a:extLst>
                  <a:ext uri="{FF2B5EF4-FFF2-40B4-BE49-F238E27FC236}">
                    <a16:creationId xmlns:a16="http://schemas.microsoft.com/office/drawing/2014/main" id="{C9DB15C8-A04D-43E3-9555-0DD51F85D966}"/>
                  </a:ext>
                </a:extLst>
              </p:cNvPr>
              <p:cNvSpPr/>
              <p:nvPr/>
            </p:nvSpPr>
            <p:spPr bwMode="auto">
              <a:xfrm rot="2558348">
                <a:off x="2676251" y="5233614"/>
                <a:ext cx="290760" cy="286983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12 h 64"/>
                  <a:gd name="T12" fmla="*/ 12 w 64"/>
                  <a:gd name="T13" fmla="*/ 32 h 64"/>
                  <a:gd name="T14" fmla="*/ 32 w 64"/>
                  <a:gd name="T15" fmla="*/ 52 h 64"/>
                  <a:gd name="T16" fmla="*/ 52 w 64"/>
                  <a:gd name="T17" fmla="*/ 32 h 64"/>
                  <a:gd name="T18" fmla="*/ 32 w 64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lose/>
                    <a:moveTo>
                      <a:pt x="32" y="12"/>
                    </a:moveTo>
                    <a:cubicBezTo>
                      <a:pt x="21" y="12"/>
                      <a:pt x="12" y="21"/>
                      <a:pt x="12" y="32"/>
                    </a:cubicBezTo>
                    <a:cubicBezTo>
                      <a:pt x="12" y="43"/>
                      <a:pt x="21" y="52"/>
                      <a:pt x="32" y="52"/>
                    </a:cubicBezTo>
                    <a:cubicBezTo>
                      <a:pt x="43" y="52"/>
                      <a:pt x="52" y="43"/>
                      <a:pt x="52" y="32"/>
                    </a:cubicBezTo>
                    <a:cubicBezTo>
                      <a:pt x="52" y="21"/>
                      <a:pt x="43" y="12"/>
                      <a:pt x="32" y="1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30" name="íṩļîḋé">
                <a:extLst>
                  <a:ext uri="{FF2B5EF4-FFF2-40B4-BE49-F238E27FC236}">
                    <a16:creationId xmlns:a16="http://schemas.microsoft.com/office/drawing/2014/main" id="{97EF5409-1814-47A8-9EE3-5693E7FD23BA}"/>
                  </a:ext>
                </a:extLst>
              </p:cNvPr>
              <p:cNvSpPr/>
              <p:nvPr/>
            </p:nvSpPr>
            <p:spPr bwMode="auto">
              <a:xfrm rot="2558348">
                <a:off x="2222287" y="5674661"/>
                <a:ext cx="268103" cy="426698"/>
              </a:xfrm>
              <a:custGeom>
                <a:avLst/>
                <a:gdLst>
                  <a:gd name="T0" fmla="*/ 29 w 59"/>
                  <a:gd name="T1" fmla="*/ 95 h 95"/>
                  <a:gd name="T2" fmla="*/ 24 w 59"/>
                  <a:gd name="T3" fmla="*/ 85 h 95"/>
                  <a:gd name="T4" fmla="*/ 0 w 59"/>
                  <a:gd name="T5" fmla="*/ 26 h 95"/>
                  <a:gd name="T6" fmla="*/ 29 w 59"/>
                  <a:gd name="T7" fmla="*/ 0 h 95"/>
                  <a:gd name="T8" fmla="*/ 59 w 59"/>
                  <a:gd name="T9" fmla="*/ 26 h 95"/>
                  <a:gd name="T10" fmla="*/ 34 w 59"/>
                  <a:gd name="T11" fmla="*/ 85 h 95"/>
                  <a:gd name="T12" fmla="*/ 29 w 59"/>
                  <a:gd name="T13" fmla="*/ 95 h 95"/>
                  <a:gd name="T14" fmla="*/ 29 w 59"/>
                  <a:gd name="T15" fmla="*/ 12 h 95"/>
                  <a:gd name="T16" fmla="*/ 12 w 59"/>
                  <a:gd name="T17" fmla="*/ 26 h 95"/>
                  <a:gd name="T18" fmla="*/ 29 w 59"/>
                  <a:gd name="T19" fmla="*/ 69 h 95"/>
                  <a:gd name="T20" fmla="*/ 47 w 59"/>
                  <a:gd name="T21" fmla="*/ 26 h 95"/>
                  <a:gd name="T22" fmla="*/ 29 w 59"/>
                  <a:gd name="T23" fmla="*/ 1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95">
                    <a:moveTo>
                      <a:pt x="29" y="95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0" y="77"/>
                      <a:pt x="0" y="38"/>
                      <a:pt x="0" y="26"/>
                    </a:cubicBezTo>
                    <a:cubicBezTo>
                      <a:pt x="0" y="12"/>
                      <a:pt x="13" y="0"/>
                      <a:pt x="29" y="0"/>
                    </a:cubicBezTo>
                    <a:cubicBezTo>
                      <a:pt x="45" y="0"/>
                      <a:pt x="59" y="12"/>
                      <a:pt x="59" y="26"/>
                    </a:cubicBezTo>
                    <a:cubicBezTo>
                      <a:pt x="59" y="38"/>
                      <a:pt x="39" y="77"/>
                      <a:pt x="34" y="85"/>
                    </a:cubicBezTo>
                    <a:lnTo>
                      <a:pt x="29" y="95"/>
                    </a:lnTo>
                    <a:close/>
                    <a:moveTo>
                      <a:pt x="29" y="12"/>
                    </a:moveTo>
                    <a:cubicBezTo>
                      <a:pt x="19" y="12"/>
                      <a:pt x="12" y="18"/>
                      <a:pt x="12" y="26"/>
                    </a:cubicBezTo>
                    <a:cubicBezTo>
                      <a:pt x="12" y="31"/>
                      <a:pt x="20" y="50"/>
                      <a:pt x="29" y="69"/>
                    </a:cubicBezTo>
                    <a:cubicBezTo>
                      <a:pt x="38" y="50"/>
                      <a:pt x="47" y="31"/>
                      <a:pt x="47" y="26"/>
                    </a:cubicBezTo>
                    <a:cubicBezTo>
                      <a:pt x="47" y="18"/>
                      <a:pt x="39" y="12"/>
                      <a:pt x="29" y="1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8" name="išlîďé">
              <a:extLst>
                <a:ext uri="{FF2B5EF4-FFF2-40B4-BE49-F238E27FC236}">
                  <a16:creationId xmlns:a16="http://schemas.microsoft.com/office/drawing/2014/main" id="{6D45C0A9-2111-4210-8386-F6A8AF4FF4D8}"/>
                </a:ext>
              </a:extLst>
            </p:cNvPr>
            <p:cNvGrpSpPr/>
            <p:nvPr/>
          </p:nvGrpSpPr>
          <p:grpSpPr>
            <a:xfrm>
              <a:off x="2848176" y="4296488"/>
              <a:ext cx="1854722" cy="1850312"/>
              <a:chOff x="2848175" y="4293312"/>
              <a:chExt cx="1862985" cy="1850312"/>
            </a:xfrm>
          </p:grpSpPr>
          <p:sp>
            <p:nvSpPr>
              <p:cNvPr id="26" name="ïŝḻíde">
                <a:extLst>
                  <a:ext uri="{FF2B5EF4-FFF2-40B4-BE49-F238E27FC236}">
                    <a16:creationId xmlns:a16="http://schemas.microsoft.com/office/drawing/2014/main" id="{4444A03D-789E-4DD5-8F4A-5AE19930F5AD}"/>
                  </a:ext>
                </a:extLst>
              </p:cNvPr>
              <p:cNvSpPr/>
              <p:nvPr/>
            </p:nvSpPr>
            <p:spPr bwMode="auto">
              <a:xfrm>
                <a:off x="2848175" y="4293312"/>
                <a:ext cx="1862985" cy="4831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60</a:t>
                </a:r>
                <a:r>
                  <a:rPr lang="zh-CN" altLang="en-US" sz="1600" b="1" dirty="0"/>
                  <a:t>年代</a:t>
                </a:r>
                <a:endParaRPr lang="en-US" altLang="zh-CN" sz="1600" b="1" dirty="0"/>
              </a:p>
            </p:txBody>
          </p:sp>
          <p:sp>
            <p:nvSpPr>
              <p:cNvPr id="27" name="ï$ľïḍê">
                <a:extLst>
                  <a:ext uri="{FF2B5EF4-FFF2-40B4-BE49-F238E27FC236}">
                    <a16:creationId xmlns:a16="http://schemas.microsoft.com/office/drawing/2014/main" id="{9BF56EA0-866A-4236-9989-57AF7C2C7228}"/>
                  </a:ext>
                </a:extLst>
              </p:cNvPr>
              <p:cNvSpPr txBox="1"/>
              <p:nvPr/>
            </p:nvSpPr>
            <p:spPr>
              <a:xfrm>
                <a:off x="2848178" y="4776439"/>
                <a:ext cx="1862982" cy="13671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/>
                  <a:t>研究开始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9" name="ïśľíḓê">
              <a:extLst>
                <a:ext uri="{FF2B5EF4-FFF2-40B4-BE49-F238E27FC236}">
                  <a16:creationId xmlns:a16="http://schemas.microsoft.com/office/drawing/2014/main" id="{28074F5C-B195-49D5-88E7-414B46D4B272}"/>
                </a:ext>
              </a:extLst>
            </p:cNvPr>
            <p:cNvSpPr/>
            <p:nvPr/>
          </p:nvSpPr>
          <p:spPr bwMode="auto">
            <a:xfrm>
              <a:off x="3517629" y="3666918"/>
              <a:ext cx="524076" cy="295192"/>
            </a:xfrm>
            <a:custGeom>
              <a:avLst/>
              <a:gdLst>
                <a:gd name="T0" fmla="*/ 1136 w 1232"/>
                <a:gd name="T1" fmla="*/ 300 h 694"/>
                <a:gd name="T2" fmla="*/ 1136 w 1232"/>
                <a:gd name="T3" fmla="*/ 297 h 694"/>
                <a:gd name="T4" fmla="*/ 971 w 1232"/>
                <a:gd name="T5" fmla="*/ 131 h 694"/>
                <a:gd name="T6" fmla="*/ 913 w 1232"/>
                <a:gd name="T7" fmla="*/ 142 h 694"/>
                <a:gd name="T8" fmla="*/ 688 w 1232"/>
                <a:gd name="T9" fmla="*/ 0 h 694"/>
                <a:gd name="T10" fmla="*/ 449 w 1232"/>
                <a:gd name="T11" fmla="*/ 181 h 694"/>
                <a:gd name="T12" fmla="*/ 358 w 1232"/>
                <a:gd name="T13" fmla="*/ 157 h 694"/>
                <a:gd name="T14" fmla="*/ 179 w 1232"/>
                <a:gd name="T15" fmla="*/ 336 h 694"/>
                <a:gd name="T16" fmla="*/ 0 w 1232"/>
                <a:gd name="T17" fmla="*/ 515 h 694"/>
                <a:gd name="T18" fmla="*/ 179 w 1232"/>
                <a:gd name="T19" fmla="*/ 694 h 694"/>
                <a:gd name="T20" fmla="*/ 1016 w 1232"/>
                <a:gd name="T21" fmla="*/ 694 h 694"/>
                <a:gd name="T22" fmla="*/ 1232 w 1232"/>
                <a:gd name="T23" fmla="*/ 479 h 694"/>
                <a:gd name="T24" fmla="*/ 1136 w 1232"/>
                <a:gd name="T25" fmla="*/ 30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2" h="694">
                  <a:moveTo>
                    <a:pt x="1136" y="300"/>
                  </a:moveTo>
                  <a:cubicBezTo>
                    <a:pt x="1136" y="299"/>
                    <a:pt x="1136" y="298"/>
                    <a:pt x="1136" y="297"/>
                  </a:cubicBezTo>
                  <a:cubicBezTo>
                    <a:pt x="1136" y="205"/>
                    <a:pt x="1062" y="131"/>
                    <a:pt x="971" y="131"/>
                  </a:cubicBezTo>
                  <a:cubicBezTo>
                    <a:pt x="951" y="131"/>
                    <a:pt x="931" y="135"/>
                    <a:pt x="913" y="142"/>
                  </a:cubicBezTo>
                  <a:cubicBezTo>
                    <a:pt x="873" y="58"/>
                    <a:pt x="788" y="0"/>
                    <a:pt x="688" y="0"/>
                  </a:cubicBezTo>
                  <a:cubicBezTo>
                    <a:pt x="574" y="0"/>
                    <a:pt x="478" y="77"/>
                    <a:pt x="449" y="181"/>
                  </a:cubicBezTo>
                  <a:cubicBezTo>
                    <a:pt x="422" y="166"/>
                    <a:pt x="391" y="157"/>
                    <a:pt x="358" y="157"/>
                  </a:cubicBezTo>
                  <a:cubicBezTo>
                    <a:pt x="259" y="157"/>
                    <a:pt x="179" y="237"/>
                    <a:pt x="179" y="336"/>
                  </a:cubicBezTo>
                  <a:cubicBezTo>
                    <a:pt x="80" y="336"/>
                    <a:pt x="0" y="416"/>
                    <a:pt x="0" y="515"/>
                  </a:cubicBezTo>
                  <a:cubicBezTo>
                    <a:pt x="0" y="614"/>
                    <a:pt x="80" y="694"/>
                    <a:pt x="179" y="694"/>
                  </a:cubicBezTo>
                  <a:cubicBezTo>
                    <a:pt x="1016" y="694"/>
                    <a:pt x="1016" y="694"/>
                    <a:pt x="1016" y="694"/>
                  </a:cubicBezTo>
                  <a:cubicBezTo>
                    <a:pt x="1135" y="694"/>
                    <a:pt x="1232" y="598"/>
                    <a:pt x="1232" y="479"/>
                  </a:cubicBezTo>
                  <a:cubicBezTo>
                    <a:pt x="1232" y="404"/>
                    <a:pt x="1194" y="338"/>
                    <a:pt x="1136" y="3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1</a:t>
              </a:r>
              <a:endParaRPr lang="id-ID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î$ľîdé">
              <a:extLst>
                <a:ext uri="{FF2B5EF4-FFF2-40B4-BE49-F238E27FC236}">
                  <a16:creationId xmlns:a16="http://schemas.microsoft.com/office/drawing/2014/main" id="{5CA8331E-153B-4A15-9348-6C76985B263D}"/>
                </a:ext>
              </a:extLst>
            </p:cNvPr>
            <p:cNvSpPr/>
            <p:nvPr/>
          </p:nvSpPr>
          <p:spPr>
            <a:xfrm>
              <a:off x="673099" y="1123950"/>
              <a:ext cx="4899026" cy="1371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buSzPct val="25000"/>
              </a:pPr>
              <a:endParaRPr lang="en-US" altLang="zh-CN" sz="2800" dirty="0">
                <a:solidFill>
                  <a:schemeClr val="tx1"/>
                </a:solidFill>
              </a:endParaRPr>
            </a:p>
          </p:txBody>
        </p:sp>
        <p:sp>
          <p:nvSpPr>
            <p:cNvPr id="11" name="išľiḍê">
              <a:extLst>
                <a:ext uri="{FF2B5EF4-FFF2-40B4-BE49-F238E27FC236}">
                  <a16:creationId xmlns:a16="http://schemas.microsoft.com/office/drawing/2014/main" id="{731F0347-8F4D-498C-9957-6D8B6364EA59}"/>
                </a:ext>
              </a:extLst>
            </p:cNvPr>
            <p:cNvSpPr/>
            <p:nvPr/>
          </p:nvSpPr>
          <p:spPr bwMode="auto">
            <a:xfrm>
              <a:off x="5589048" y="2954116"/>
              <a:ext cx="596210" cy="335822"/>
            </a:xfrm>
            <a:custGeom>
              <a:avLst/>
              <a:gdLst>
                <a:gd name="T0" fmla="*/ 1136 w 1232"/>
                <a:gd name="T1" fmla="*/ 300 h 694"/>
                <a:gd name="T2" fmla="*/ 1136 w 1232"/>
                <a:gd name="T3" fmla="*/ 297 h 694"/>
                <a:gd name="T4" fmla="*/ 971 w 1232"/>
                <a:gd name="T5" fmla="*/ 131 h 694"/>
                <a:gd name="T6" fmla="*/ 913 w 1232"/>
                <a:gd name="T7" fmla="*/ 142 h 694"/>
                <a:gd name="T8" fmla="*/ 688 w 1232"/>
                <a:gd name="T9" fmla="*/ 0 h 694"/>
                <a:gd name="T10" fmla="*/ 449 w 1232"/>
                <a:gd name="T11" fmla="*/ 181 h 694"/>
                <a:gd name="T12" fmla="*/ 358 w 1232"/>
                <a:gd name="T13" fmla="*/ 157 h 694"/>
                <a:gd name="T14" fmla="*/ 179 w 1232"/>
                <a:gd name="T15" fmla="*/ 336 h 694"/>
                <a:gd name="T16" fmla="*/ 0 w 1232"/>
                <a:gd name="T17" fmla="*/ 515 h 694"/>
                <a:gd name="T18" fmla="*/ 179 w 1232"/>
                <a:gd name="T19" fmla="*/ 694 h 694"/>
                <a:gd name="T20" fmla="*/ 1016 w 1232"/>
                <a:gd name="T21" fmla="*/ 694 h 694"/>
                <a:gd name="T22" fmla="*/ 1232 w 1232"/>
                <a:gd name="T23" fmla="*/ 479 h 694"/>
                <a:gd name="T24" fmla="*/ 1136 w 1232"/>
                <a:gd name="T25" fmla="*/ 30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2" h="694">
                  <a:moveTo>
                    <a:pt x="1136" y="300"/>
                  </a:moveTo>
                  <a:cubicBezTo>
                    <a:pt x="1136" y="299"/>
                    <a:pt x="1136" y="298"/>
                    <a:pt x="1136" y="297"/>
                  </a:cubicBezTo>
                  <a:cubicBezTo>
                    <a:pt x="1136" y="205"/>
                    <a:pt x="1062" y="131"/>
                    <a:pt x="971" y="131"/>
                  </a:cubicBezTo>
                  <a:cubicBezTo>
                    <a:pt x="951" y="131"/>
                    <a:pt x="931" y="135"/>
                    <a:pt x="913" y="142"/>
                  </a:cubicBezTo>
                  <a:cubicBezTo>
                    <a:pt x="873" y="58"/>
                    <a:pt x="788" y="0"/>
                    <a:pt x="688" y="0"/>
                  </a:cubicBezTo>
                  <a:cubicBezTo>
                    <a:pt x="574" y="0"/>
                    <a:pt x="478" y="77"/>
                    <a:pt x="449" y="181"/>
                  </a:cubicBezTo>
                  <a:cubicBezTo>
                    <a:pt x="422" y="166"/>
                    <a:pt x="391" y="157"/>
                    <a:pt x="358" y="157"/>
                  </a:cubicBezTo>
                  <a:cubicBezTo>
                    <a:pt x="259" y="157"/>
                    <a:pt x="179" y="237"/>
                    <a:pt x="179" y="336"/>
                  </a:cubicBezTo>
                  <a:cubicBezTo>
                    <a:pt x="80" y="336"/>
                    <a:pt x="0" y="416"/>
                    <a:pt x="0" y="515"/>
                  </a:cubicBezTo>
                  <a:cubicBezTo>
                    <a:pt x="0" y="614"/>
                    <a:pt x="80" y="694"/>
                    <a:pt x="179" y="694"/>
                  </a:cubicBezTo>
                  <a:cubicBezTo>
                    <a:pt x="1016" y="694"/>
                    <a:pt x="1016" y="694"/>
                    <a:pt x="1016" y="694"/>
                  </a:cubicBezTo>
                  <a:cubicBezTo>
                    <a:pt x="1135" y="694"/>
                    <a:pt x="1232" y="598"/>
                    <a:pt x="1232" y="479"/>
                  </a:cubicBezTo>
                  <a:cubicBezTo>
                    <a:pt x="1232" y="404"/>
                    <a:pt x="1194" y="338"/>
                    <a:pt x="1136" y="3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2</a:t>
              </a:r>
              <a:endParaRPr lang="id-ID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îśḷiḓe">
              <a:extLst>
                <a:ext uri="{FF2B5EF4-FFF2-40B4-BE49-F238E27FC236}">
                  <a16:creationId xmlns:a16="http://schemas.microsoft.com/office/drawing/2014/main" id="{CDCA5849-D216-49D1-A1D2-F0B140485A8F}"/>
                </a:ext>
              </a:extLst>
            </p:cNvPr>
            <p:cNvSpPr/>
            <p:nvPr/>
          </p:nvSpPr>
          <p:spPr bwMode="auto">
            <a:xfrm>
              <a:off x="7648200" y="2534625"/>
              <a:ext cx="701138" cy="394924"/>
            </a:xfrm>
            <a:custGeom>
              <a:avLst/>
              <a:gdLst>
                <a:gd name="T0" fmla="*/ 1136 w 1232"/>
                <a:gd name="T1" fmla="*/ 300 h 694"/>
                <a:gd name="T2" fmla="*/ 1136 w 1232"/>
                <a:gd name="T3" fmla="*/ 297 h 694"/>
                <a:gd name="T4" fmla="*/ 971 w 1232"/>
                <a:gd name="T5" fmla="*/ 131 h 694"/>
                <a:gd name="T6" fmla="*/ 913 w 1232"/>
                <a:gd name="T7" fmla="*/ 142 h 694"/>
                <a:gd name="T8" fmla="*/ 688 w 1232"/>
                <a:gd name="T9" fmla="*/ 0 h 694"/>
                <a:gd name="T10" fmla="*/ 449 w 1232"/>
                <a:gd name="T11" fmla="*/ 181 h 694"/>
                <a:gd name="T12" fmla="*/ 358 w 1232"/>
                <a:gd name="T13" fmla="*/ 157 h 694"/>
                <a:gd name="T14" fmla="*/ 179 w 1232"/>
                <a:gd name="T15" fmla="*/ 336 h 694"/>
                <a:gd name="T16" fmla="*/ 0 w 1232"/>
                <a:gd name="T17" fmla="*/ 515 h 694"/>
                <a:gd name="T18" fmla="*/ 179 w 1232"/>
                <a:gd name="T19" fmla="*/ 694 h 694"/>
                <a:gd name="T20" fmla="*/ 1016 w 1232"/>
                <a:gd name="T21" fmla="*/ 694 h 694"/>
                <a:gd name="T22" fmla="*/ 1232 w 1232"/>
                <a:gd name="T23" fmla="*/ 479 h 694"/>
                <a:gd name="T24" fmla="*/ 1136 w 1232"/>
                <a:gd name="T25" fmla="*/ 30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2" h="694">
                  <a:moveTo>
                    <a:pt x="1136" y="300"/>
                  </a:moveTo>
                  <a:cubicBezTo>
                    <a:pt x="1136" y="299"/>
                    <a:pt x="1136" y="298"/>
                    <a:pt x="1136" y="297"/>
                  </a:cubicBezTo>
                  <a:cubicBezTo>
                    <a:pt x="1136" y="205"/>
                    <a:pt x="1062" y="131"/>
                    <a:pt x="971" y="131"/>
                  </a:cubicBezTo>
                  <a:cubicBezTo>
                    <a:pt x="951" y="131"/>
                    <a:pt x="931" y="135"/>
                    <a:pt x="913" y="142"/>
                  </a:cubicBezTo>
                  <a:cubicBezTo>
                    <a:pt x="873" y="58"/>
                    <a:pt x="788" y="0"/>
                    <a:pt x="688" y="0"/>
                  </a:cubicBezTo>
                  <a:cubicBezTo>
                    <a:pt x="574" y="0"/>
                    <a:pt x="478" y="77"/>
                    <a:pt x="449" y="181"/>
                  </a:cubicBezTo>
                  <a:cubicBezTo>
                    <a:pt x="422" y="166"/>
                    <a:pt x="391" y="157"/>
                    <a:pt x="358" y="157"/>
                  </a:cubicBezTo>
                  <a:cubicBezTo>
                    <a:pt x="259" y="157"/>
                    <a:pt x="179" y="237"/>
                    <a:pt x="179" y="336"/>
                  </a:cubicBezTo>
                  <a:cubicBezTo>
                    <a:pt x="80" y="336"/>
                    <a:pt x="0" y="416"/>
                    <a:pt x="0" y="515"/>
                  </a:cubicBezTo>
                  <a:cubicBezTo>
                    <a:pt x="0" y="614"/>
                    <a:pt x="80" y="694"/>
                    <a:pt x="179" y="694"/>
                  </a:cubicBezTo>
                  <a:cubicBezTo>
                    <a:pt x="1016" y="694"/>
                    <a:pt x="1016" y="694"/>
                    <a:pt x="1016" y="694"/>
                  </a:cubicBezTo>
                  <a:cubicBezTo>
                    <a:pt x="1135" y="694"/>
                    <a:pt x="1232" y="598"/>
                    <a:pt x="1232" y="479"/>
                  </a:cubicBezTo>
                  <a:cubicBezTo>
                    <a:pt x="1232" y="404"/>
                    <a:pt x="1194" y="338"/>
                    <a:pt x="1136" y="3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3</a:t>
              </a:r>
              <a:endParaRPr lang="id-ID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íSḻidé">
              <a:extLst>
                <a:ext uri="{FF2B5EF4-FFF2-40B4-BE49-F238E27FC236}">
                  <a16:creationId xmlns:a16="http://schemas.microsoft.com/office/drawing/2014/main" id="{D3DC3803-34BA-4D3B-9C3B-2A185549BEBC}"/>
                </a:ext>
              </a:extLst>
            </p:cNvPr>
            <p:cNvSpPr/>
            <p:nvPr/>
          </p:nvSpPr>
          <p:spPr bwMode="auto">
            <a:xfrm>
              <a:off x="9690441" y="2259011"/>
              <a:ext cx="839888" cy="473076"/>
            </a:xfrm>
            <a:custGeom>
              <a:avLst/>
              <a:gdLst>
                <a:gd name="T0" fmla="*/ 1136 w 1232"/>
                <a:gd name="T1" fmla="*/ 300 h 694"/>
                <a:gd name="T2" fmla="*/ 1136 w 1232"/>
                <a:gd name="T3" fmla="*/ 297 h 694"/>
                <a:gd name="T4" fmla="*/ 971 w 1232"/>
                <a:gd name="T5" fmla="*/ 131 h 694"/>
                <a:gd name="T6" fmla="*/ 913 w 1232"/>
                <a:gd name="T7" fmla="*/ 142 h 694"/>
                <a:gd name="T8" fmla="*/ 688 w 1232"/>
                <a:gd name="T9" fmla="*/ 0 h 694"/>
                <a:gd name="T10" fmla="*/ 449 w 1232"/>
                <a:gd name="T11" fmla="*/ 181 h 694"/>
                <a:gd name="T12" fmla="*/ 358 w 1232"/>
                <a:gd name="T13" fmla="*/ 157 h 694"/>
                <a:gd name="T14" fmla="*/ 179 w 1232"/>
                <a:gd name="T15" fmla="*/ 336 h 694"/>
                <a:gd name="T16" fmla="*/ 0 w 1232"/>
                <a:gd name="T17" fmla="*/ 515 h 694"/>
                <a:gd name="T18" fmla="*/ 179 w 1232"/>
                <a:gd name="T19" fmla="*/ 694 h 694"/>
                <a:gd name="T20" fmla="*/ 1016 w 1232"/>
                <a:gd name="T21" fmla="*/ 694 h 694"/>
                <a:gd name="T22" fmla="*/ 1232 w 1232"/>
                <a:gd name="T23" fmla="*/ 479 h 694"/>
                <a:gd name="T24" fmla="*/ 1136 w 1232"/>
                <a:gd name="T25" fmla="*/ 30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2" h="694">
                  <a:moveTo>
                    <a:pt x="1136" y="300"/>
                  </a:moveTo>
                  <a:cubicBezTo>
                    <a:pt x="1136" y="299"/>
                    <a:pt x="1136" y="298"/>
                    <a:pt x="1136" y="297"/>
                  </a:cubicBezTo>
                  <a:cubicBezTo>
                    <a:pt x="1136" y="205"/>
                    <a:pt x="1062" y="131"/>
                    <a:pt x="971" y="131"/>
                  </a:cubicBezTo>
                  <a:cubicBezTo>
                    <a:pt x="951" y="131"/>
                    <a:pt x="931" y="135"/>
                    <a:pt x="913" y="142"/>
                  </a:cubicBezTo>
                  <a:cubicBezTo>
                    <a:pt x="873" y="58"/>
                    <a:pt x="788" y="0"/>
                    <a:pt x="688" y="0"/>
                  </a:cubicBezTo>
                  <a:cubicBezTo>
                    <a:pt x="574" y="0"/>
                    <a:pt x="478" y="77"/>
                    <a:pt x="449" y="181"/>
                  </a:cubicBezTo>
                  <a:cubicBezTo>
                    <a:pt x="422" y="166"/>
                    <a:pt x="391" y="157"/>
                    <a:pt x="358" y="157"/>
                  </a:cubicBezTo>
                  <a:cubicBezTo>
                    <a:pt x="259" y="157"/>
                    <a:pt x="179" y="237"/>
                    <a:pt x="179" y="336"/>
                  </a:cubicBezTo>
                  <a:cubicBezTo>
                    <a:pt x="80" y="336"/>
                    <a:pt x="0" y="416"/>
                    <a:pt x="0" y="515"/>
                  </a:cubicBezTo>
                  <a:cubicBezTo>
                    <a:pt x="0" y="614"/>
                    <a:pt x="80" y="694"/>
                    <a:pt x="179" y="694"/>
                  </a:cubicBezTo>
                  <a:cubicBezTo>
                    <a:pt x="1016" y="694"/>
                    <a:pt x="1016" y="694"/>
                    <a:pt x="1016" y="694"/>
                  </a:cubicBezTo>
                  <a:cubicBezTo>
                    <a:pt x="1135" y="694"/>
                    <a:pt x="1232" y="598"/>
                    <a:pt x="1232" y="479"/>
                  </a:cubicBezTo>
                  <a:cubicBezTo>
                    <a:pt x="1232" y="404"/>
                    <a:pt x="1194" y="338"/>
                    <a:pt x="1136" y="3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4</a:t>
              </a:r>
              <a:endParaRPr lang="id-ID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4" name="îsḻïḍè">
              <a:extLst>
                <a:ext uri="{FF2B5EF4-FFF2-40B4-BE49-F238E27FC236}">
                  <a16:creationId xmlns:a16="http://schemas.microsoft.com/office/drawing/2014/main" id="{A9B03E84-692A-4605-B2CA-74F05FCFEA84}"/>
                </a:ext>
              </a:extLst>
            </p:cNvPr>
            <p:cNvGrpSpPr/>
            <p:nvPr/>
          </p:nvGrpSpPr>
          <p:grpSpPr>
            <a:xfrm>
              <a:off x="4959792" y="4013590"/>
              <a:ext cx="1854722" cy="1850312"/>
              <a:chOff x="2848175" y="4293312"/>
              <a:chExt cx="1862985" cy="1850312"/>
            </a:xfrm>
          </p:grpSpPr>
          <p:sp>
            <p:nvSpPr>
              <p:cNvPr id="24" name="ïsļíḑè">
                <a:extLst>
                  <a:ext uri="{FF2B5EF4-FFF2-40B4-BE49-F238E27FC236}">
                    <a16:creationId xmlns:a16="http://schemas.microsoft.com/office/drawing/2014/main" id="{3DB63CB5-3C47-4C17-9BC8-79E5846ADFB4}"/>
                  </a:ext>
                </a:extLst>
              </p:cNvPr>
              <p:cNvSpPr/>
              <p:nvPr/>
            </p:nvSpPr>
            <p:spPr bwMode="auto">
              <a:xfrm>
                <a:off x="2848175" y="4293312"/>
                <a:ext cx="1862985" cy="4831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80</a:t>
                </a:r>
                <a:r>
                  <a:rPr lang="zh-CN" altLang="en-US" sz="1600" b="1" dirty="0"/>
                  <a:t>年代</a:t>
                </a:r>
                <a:endParaRPr lang="en-US" altLang="zh-CN" sz="1600" b="1" dirty="0"/>
              </a:p>
            </p:txBody>
          </p:sp>
          <p:sp>
            <p:nvSpPr>
              <p:cNvPr id="25" name="ïşḷïde">
                <a:extLst>
                  <a:ext uri="{FF2B5EF4-FFF2-40B4-BE49-F238E27FC236}">
                    <a16:creationId xmlns:a16="http://schemas.microsoft.com/office/drawing/2014/main" id="{9BF56EA0-866A-4236-9989-57AF7C2C7228}"/>
                  </a:ext>
                </a:extLst>
              </p:cNvPr>
              <p:cNvSpPr txBox="1"/>
              <p:nvPr/>
            </p:nvSpPr>
            <p:spPr>
              <a:xfrm>
                <a:off x="2848178" y="4776439"/>
                <a:ext cx="1862982" cy="13671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/>
                  <a:t>发展期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5" name="ïś1îdé">
              <a:extLst>
                <a:ext uri="{FF2B5EF4-FFF2-40B4-BE49-F238E27FC236}">
                  <a16:creationId xmlns:a16="http://schemas.microsoft.com/office/drawing/2014/main" id="{E7337A4D-918E-4E11-A614-303765939C15}"/>
                </a:ext>
              </a:extLst>
            </p:cNvPr>
            <p:cNvGrpSpPr/>
            <p:nvPr/>
          </p:nvGrpSpPr>
          <p:grpSpPr>
            <a:xfrm>
              <a:off x="7071408" y="3730692"/>
              <a:ext cx="1854722" cy="1850312"/>
              <a:chOff x="2848175" y="4293312"/>
              <a:chExt cx="1862985" cy="1850312"/>
            </a:xfrm>
          </p:grpSpPr>
          <p:sp>
            <p:nvSpPr>
              <p:cNvPr id="22" name="i$ļiḋe">
                <a:extLst>
                  <a:ext uri="{FF2B5EF4-FFF2-40B4-BE49-F238E27FC236}">
                    <a16:creationId xmlns:a16="http://schemas.microsoft.com/office/drawing/2014/main" id="{49ABE23A-3B7E-4A3F-A251-ED5E92612A62}"/>
                  </a:ext>
                </a:extLst>
              </p:cNvPr>
              <p:cNvSpPr/>
              <p:nvPr/>
            </p:nvSpPr>
            <p:spPr bwMode="auto">
              <a:xfrm>
                <a:off x="2848175" y="4293312"/>
                <a:ext cx="1862985" cy="4831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上世纪末</a:t>
                </a:r>
                <a:endParaRPr lang="en-US" altLang="zh-CN" sz="1600" b="1" dirty="0"/>
              </a:p>
            </p:txBody>
          </p:sp>
          <p:sp>
            <p:nvSpPr>
              <p:cNvPr id="23" name="îṣḷîde">
                <a:extLst>
                  <a:ext uri="{FF2B5EF4-FFF2-40B4-BE49-F238E27FC236}">
                    <a16:creationId xmlns:a16="http://schemas.microsoft.com/office/drawing/2014/main" id="{9BF56EA0-866A-4236-9989-57AF7C2C7228}"/>
                  </a:ext>
                </a:extLst>
              </p:cNvPr>
              <p:cNvSpPr txBox="1"/>
              <p:nvPr/>
            </p:nvSpPr>
            <p:spPr>
              <a:xfrm>
                <a:off x="2848178" y="4776439"/>
                <a:ext cx="1862982" cy="13671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/>
                  <a:t>初级应用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6" name="ïṣḻiďè">
              <a:extLst>
                <a:ext uri="{FF2B5EF4-FFF2-40B4-BE49-F238E27FC236}">
                  <a16:creationId xmlns:a16="http://schemas.microsoft.com/office/drawing/2014/main" id="{BD7EA685-C9DB-4C67-8CF7-21DCE42D572D}"/>
                </a:ext>
              </a:extLst>
            </p:cNvPr>
            <p:cNvGrpSpPr/>
            <p:nvPr/>
          </p:nvGrpSpPr>
          <p:grpSpPr>
            <a:xfrm>
              <a:off x="9183024" y="3447794"/>
              <a:ext cx="1854722" cy="1850312"/>
              <a:chOff x="2848175" y="4293312"/>
              <a:chExt cx="1862985" cy="1850312"/>
            </a:xfrm>
          </p:grpSpPr>
          <p:sp>
            <p:nvSpPr>
              <p:cNvPr id="20" name="íšļidé">
                <a:extLst>
                  <a:ext uri="{FF2B5EF4-FFF2-40B4-BE49-F238E27FC236}">
                    <a16:creationId xmlns:a16="http://schemas.microsoft.com/office/drawing/2014/main" id="{DAFA77E6-2DB9-4668-8455-73E6EAEDD7E4}"/>
                  </a:ext>
                </a:extLst>
              </p:cNvPr>
              <p:cNvSpPr/>
              <p:nvPr/>
            </p:nvSpPr>
            <p:spPr bwMode="auto">
              <a:xfrm>
                <a:off x="2848175" y="4293312"/>
                <a:ext cx="1862985" cy="4831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201x</a:t>
                </a:r>
              </a:p>
            </p:txBody>
          </p:sp>
          <p:sp>
            <p:nvSpPr>
              <p:cNvPr id="21" name="ïŝ1ïḓê">
                <a:extLst>
                  <a:ext uri="{FF2B5EF4-FFF2-40B4-BE49-F238E27FC236}">
                    <a16:creationId xmlns:a16="http://schemas.microsoft.com/office/drawing/2014/main" id="{9BF56EA0-866A-4236-9989-57AF7C2C7228}"/>
                  </a:ext>
                </a:extLst>
              </p:cNvPr>
              <p:cNvSpPr txBox="1"/>
              <p:nvPr/>
            </p:nvSpPr>
            <p:spPr>
              <a:xfrm>
                <a:off x="2848178" y="4776439"/>
                <a:ext cx="1862982" cy="13671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/>
                  <a:t>爆发期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29F7631D-89AB-4662-B4F5-BD976270AACB}"/>
                </a:ext>
              </a:extLst>
            </p:cNvPr>
            <p:cNvCxnSpPr/>
            <p:nvPr/>
          </p:nvCxnSpPr>
          <p:spPr>
            <a:xfrm>
              <a:off x="4831345" y="4414048"/>
              <a:ext cx="0" cy="173275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5D899F11-13D1-4449-98AB-06874F017495}"/>
                </a:ext>
              </a:extLst>
            </p:cNvPr>
            <p:cNvCxnSpPr/>
            <p:nvPr/>
          </p:nvCxnSpPr>
          <p:spPr>
            <a:xfrm>
              <a:off x="6942961" y="4086225"/>
              <a:ext cx="0" cy="20605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104B873F-0DDE-49F6-9014-89BBAFE2ACA9}"/>
                </a:ext>
              </a:extLst>
            </p:cNvPr>
            <p:cNvCxnSpPr/>
            <p:nvPr/>
          </p:nvCxnSpPr>
          <p:spPr>
            <a:xfrm>
              <a:off x="9054577" y="3730692"/>
              <a:ext cx="0" cy="241610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29046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1445D98-8D67-4834-9C5D-6C7C342B2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应用场景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B1D7378-F09E-4DE4-8AB7-49A8B9C7E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731539B-60B3-4D30-8BF7-F7AF087CF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820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5B08461-B4D7-4310-8202-4C6FE4DB854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60450" y="1784663"/>
            <a:ext cx="10058400" cy="4349437"/>
            <a:chOff x="1060450" y="1784663"/>
            <a:chExt cx="10058400" cy="4349437"/>
          </a:xfrm>
        </p:grpSpPr>
        <p:sp>
          <p:nvSpPr>
            <p:cNvPr id="6" name="îsḻïḍé">
              <a:extLst>
                <a:ext uri="{FF2B5EF4-FFF2-40B4-BE49-F238E27FC236}">
                  <a16:creationId xmlns:a16="http://schemas.microsoft.com/office/drawing/2014/main" id="{34F8E72C-CF25-4383-9366-14002D22718A}"/>
                </a:ext>
              </a:extLst>
            </p:cNvPr>
            <p:cNvSpPr/>
            <p:nvPr/>
          </p:nvSpPr>
          <p:spPr bwMode="auto">
            <a:xfrm>
              <a:off x="1060450" y="1784663"/>
              <a:ext cx="10058400" cy="2271713"/>
            </a:xfrm>
            <a:custGeom>
              <a:avLst/>
              <a:gdLst>
                <a:gd name="T0" fmla="*/ 2907 w 2907"/>
                <a:gd name="T1" fmla="*/ 18 h 655"/>
                <a:gd name="T2" fmla="*/ 2872 w 2907"/>
                <a:gd name="T3" fmla="*/ 154 h 655"/>
                <a:gd name="T4" fmla="*/ 2829 w 2907"/>
                <a:gd name="T5" fmla="*/ 111 h 655"/>
                <a:gd name="T6" fmla="*/ 2837 w 2907"/>
                <a:gd name="T7" fmla="*/ 82 h 655"/>
                <a:gd name="T8" fmla="*/ 2715 w 2907"/>
                <a:gd name="T9" fmla="*/ 210 h 655"/>
                <a:gd name="T10" fmla="*/ 2679 w 2907"/>
                <a:gd name="T11" fmla="*/ 174 h 655"/>
                <a:gd name="T12" fmla="*/ 2609 w 2907"/>
                <a:gd name="T13" fmla="*/ 127 h 655"/>
                <a:gd name="T14" fmla="*/ 2526 w 2907"/>
                <a:gd name="T15" fmla="*/ 111 h 655"/>
                <a:gd name="T16" fmla="*/ 2444 w 2907"/>
                <a:gd name="T17" fmla="*/ 127 h 655"/>
                <a:gd name="T18" fmla="*/ 2374 w 2907"/>
                <a:gd name="T19" fmla="*/ 174 h 655"/>
                <a:gd name="T20" fmla="*/ 2036 w 2907"/>
                <a:gd name="T21" fmla="*/ 174 h 655"/>
                <a:gd name="T22" fmla="*/ 1967 w 2907"/>
                <a:gd name="T23" fmla="*/ 127 h 655"/>
                <a:gd name="T24" fmla="*/ 1884 w 2907"/>
                <a:gd name="T25" fmla="*/ 111 h 655"/>
                <a:gd name="T26" fmla="*/ 1801 w 2907"/>
                <a:gd name="T27" fmla="*/ 127 h 655"/>
                <a:gd name="T28" fmla="*/ 1732 w 2907"/>
                <a:gd name="T29" fmla="*/ 174 h 655"/>
                <a:gd name="T30" fmla="*/ 1413 w 2907"/>
                <a:gd name="T31" fmla="*/ 174 h 655"/>
                <a:gd name="T32" fmla="*/ 1343 w 2907"/>
                <a:gd name="T33" fmla="*/ 127 h 655"/>
                <a:gd name="T34" fmla="*/ 1260 w 2907"/>
                <a:gd name="T35" fmla="*/ 111 h 655"/>
                <a:gd name="T36" fmla="*/ 1178 w 2907"/>
                <a:gd name="T37" fmla="*/ 127 h 655"/>
                <a:gd name="T38" fmla="*/ 1108 w 2907"/>
                <a:gd name="T39" fmla="*/ 174 h 655"/>
                <a:gd name="T40" fmla="*/ 789 w 2907"/>
                <a:gd name="T41" fmla="*/ 174 h 655"/>
                <a:gd name="T42" fmla="*/ 719 w 2907"/>
                <a:gd name="T43" fmla="*/ 127 h 655"/>
                <a:gd name="T44" fmla="*/ 637 w 2907"/>
                <a:gd name="T45" fmla="*/ 111 h 655"/>
                <a:gd name="T46" fmla="*/ 554 w 2907"/>
                <a:gd name="T47" fmla="*/ 127 h 655"/>
                <a:gd name="T48" fmla="*/ 18 w 2907"/>
                <a:gd name="T49" fmla="*/ 655 h 655"/>
                <a:gd name="T50" fmla="*/ 0 w 2907"/>
                <a:gd name="T51" fmla="*/ 640 h 655"/>
                <a:gd name="T52" fmla="*/ 545 w 2907"/>
                <a:gd name="T53" fmla="*/ 106 h 655"/>
                <a:gd name="T54" fmla="*/ 637 w 2907"/>
                <a:gd name="T55" fmla="*/ 88 h 655"/>
                <a:gd name="T56" fmla="*/ 728 w 2907"/>
                <a:gd name="T57" fmla="*/ 106 h 655"/>
                <a:gd name="T58" fmla="*/ 805 w 2907"/>
                <a:gd name="T59" fmla="*/ 158 h 655"/>
                <a:gd name="T60" fmla="*/ 1092 w 2907"/>
                <a:gd name="T61" fmla="*/ 158 h 655"/>
                <a:gd name="T62" fmla="*/ 1169 w 2907"/>
                <a:gd name="T63" fmla="*/ 106 h 655"/>
                <a:gd name="T64" fmla="*/ 1260 w 2907"/>
                <a:gd name="T65" fmla="*/ 88 h 655"/>
                <a:gd name="T66" fmla="*/ 1352 w 2907"/>
                <a:gd name="T67" fmla="*/ 106 h 655"/>
                <a:gd name="T68" fmla="*/ 1429 w 2907"/>
                <a:gd name="T69" fmla="*/ 158 h 655"/>
                <a:gd name="T70" fmla="*/ 1716 w 2907"/>
                <a:gd name="T71" fmla="*/ 158 h 655"/>
                <a:gd name="T72" fmla="*/ 1793 w 2907"/>
                <a:gd name="T73" fmla="*/ 106 h 655"/>
                <a:gd name="T74" fmla="*/ 1884 w 2907"/>
                <a:gd name="T75" fmla="*/ 88 h 655"/>
                <a:gd name="T76" fmla="*/ 1975 w 2907"/>
                <a:gd name="T77" fmla="*/ 106 h 655"/>
                <a:gd name="T78" fmla="*/ 2052 w 2907"/>
                <a:gd name="T79" fmla="*/ 158 h 655"/>
                <a:gd name="T80" fmla="*/ 2358 w 2907"/>
                <a:gd name="T81" fmla="*/ 158 h 655"/>
                <a:gd name="T82" fmla="*/ 2435 w 2907"/>
                <a:gd name="T83" fmla="*/ 106 h 655"/>
                <a:gd name="T84" fmla="*/ 2526 w 2907"/>
                <a:gd name="T85" fmla="*/ 88 h 655"/>
                <a:gd name="T86" fmla="*/ 2618 w 2907"/>
                <a:gd name="T87" fmla="*/ 106 h 655"/>
                <a:gd name="T88" fmla="*/ 2695 w 2907"/>
                <a:gd name="T89" fmla="*/ 158 h 655"/>
                <a:gd name="T90" fmla="*/ 2715 w 2907"/>
                <a:gd name="T91" fmla="*/ 178 h 655"/>
                <a:gd name="T92" fmla="*/ 2817 w 2907"/>
                <a:gd name="T93" fmla="*/ 69 h 655"/>
                <a:gd name="T94" fmla="*/ 2793 w 2907"/>
                <a:gd name="T95" fmla="*/ 75 h 655"/>
                <a:gd name="T96" fmla="*/ 2752 w 2907"/>
                <a:gd name="T97" fmla="*/ 34 h 655"/>
                <a:gd name="T98" fmla="*/ 2890 w 2907"/>
                <a:gd name="T99" fmla="*/ 0 h 655"/>
                <a:gd name="T100" fmla="*/ 2907 w 2907"/>
                <a:gd name="T101" fmla="*/ 18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07" h="655">
                  <a:moveTo>
                    <a:pt x="2907" y="18"/>
                  </a:moveTo>
                  <a:cubicBezTo>
                    <a:pt x="2872" y="154"/>
                    <a:pt x="2872" y="154"/>
                    <a:pt x="2872" y="154"/>
                  </a:cubicBezTo>
                  <a:cubicBezTo>
                    <a:pt x="2829" y="111"/>
                    <a:pt x="2829" y="111"/>
                    <a:pt x="2829" y="111"/>
                  </a:cubicBezTo>
                  <a:cubicBezTo>
                    <a:pt x="2837" y="82"/>
                    <a:pt x="2837" y="82"/>
                    <a:pt x="2837" y="82"/>
                  </a:cubicBezTo>
                  <a:cubicBezTo>
                    <a:pt x="2794" y="128"/>
                    <a:pt x="2789" y="136"/>
                    <a:pt x="2715" y="210"/>
                  </a:cubicBezTo>
                  <a:cubicBezTo>
                    <a:pt x="2679" y="174"/>
                    <a:pt x="2679" y="174"/>
                    <a:pt x="2679" y="174"/>
                  </a:cubicBezTo>
                  <a:cubicBezTo>
                    <a:pt x="2658" y="153"/>
                    <a:pt x="2634" y="138"/>
                    <a:pt x="2609" y="127"/>
                  </a:cubicBezTo>
                  <a:cubicBezTo>
                    <a:pt x="2583" y="116"/>
                    <a:pt x="2555" y="111"/>
                    <a:pt x="2526" y="111"/>
                  </a:cubicBezTo>
                  <a:cubicBezTo>
                    <a:pt x="2498" y="111"/>
                    <a:pt x="2470" y="116"/>
                    <a:pt x="2444" y="127"/>
                  </a:cubicBezTo>
                  <a:cubicBezTo>
                    <a:pt x="2418" y="138"/>
                    <a:pt x="2395" y="153"/>
                    <a:pt x="2374" y="174"/>
                  </a:cubicBezTo>
                  <a:cubicBezTo>
                    <a:pt x="2149" y="399"/>
                    <a:pt x="2261" y="399"/>
                    <a:pt x="2036" y="174"/>
                  </a:cubicBezTo>
                  <a:cubicBezTo>
                    <a:pt x="2016" y="153"/>
                    <a:pt x="1992" y="138"/>
                    <a:pt x="1967" y="127"/>
                  </a:cubicBezTo>
                  <a:cubicBezTo>
                    <a:pt x="1940" y="116"/>
                    <a:pt x="1912" y="111"/>
                    <a:pt x="1884" y="111"/>
                  </a:cubicBezTo>
                  <a:cubicBezTo>
                    <a:pt x="1856" y="111"/>
                    <a:pt x="1828" y="116"/>
                    <a:pt x="1801" y="127"/>
                  </a:cubicBezTo>
                  <a:cubicBezTo>
                    <a:pt x="1776" y="138"/>
                    <a:pt x="1752" y="153"/>
                    <a:pt x="1732" y="174"/>
                  </a:cubicBezTo>
                  <a:cubicBezTo>
                    <a:pt x="1528" y="378"/>
                    <a:pt x="1616" y="378"/>
                    <a:pt x="1413" y="174"/>
                  </a:cubicBezTo>
                  <a:cubicBezTo>
                    <a:pt x="1392" y="153"/>
                    <a:pt x="1368" y="138"/>
                    <a:pt x="1343" y="127"/>
                  </a:cubicBezTo>
                  <a:cubicBezTo>
                    <a:pt x="1317" y="116"/>
                    <a:pt x="1289" y="111"/>
                    <a:pt x="1260" y="111"/>
                  </a:cubicBezTo>
                  <a:cubicBezTo>
                    <a:pt x="1232" y="111"/>
                    <a:pt x="1204" y="116"/>
                    <a:pt x="1178" y="127"/>
                  </a:cubicBezTo>
                  <a:cubicBezTo>
                    <a:pt x="1152" y="138"/>
                    <a:pt x="1129" y="153"/>
                    <a:pt x="1108" y="174"/>
                  </a:cubicBezTo>
                  <a:cubicBezTo>
                    <a:pt x="904" y="378"/>
                    <a:pt x="993" y="378"/>
                    <a:pt x="789" y="174"/>
                  </a:cubicBezTo>
                  <a:cubicBezTo>
                    <a:pt x="768" y="153"/>
                    <a:pt x="745" y="138"/>
                    <a:pt x="719" y="127"/>
                  </a:cubicBezTo>
                  <a:cubicBezTo>
                    <a:pt x="693" y="116"/>
                    <a:pt x="665" y="111"/>
                    <a:pt x="637" y="111"/>
                  </a:cubicBezTo>
                  <a:cubicBezTo>
                    <a:pt x="609" y="111"/>
                    <a:pt x="580" y="116"/>
                    <a:pt x="554" y="127"/>
                  </a:cubicBezTo>
                  <a:cubicBezTo>
                    <a:pt x="476" y="159"/>
                    <a:pt x="86" y="587"/>
                    <a:pt x="18" y="655"/>
                  </a:cubicBezTo>
                  <a:cubicBezTo>
                    <a:pt x="0" y="640"/>
                    <a:pt x="0" y="640"/>
                    <a:pt x="0" y="640"/>
                  </a:cubicBezTo>
                  <a:cubicBezTo>
                    <a:pt x="74" y="567"/>
                    <a:pt x="460" y="142"/>
                    <a:pt x="545" y="106"/>
                  </a:cubicBezTo>
                  <a:cubicBezTo>
                    <a:pt x="575" y="94"/>
                    <a:pt x="606" y="88"/>
                    <a:pt x="637" y="88"/>
                  </a:cubicBezTo>
                  <a:cubicBezTo>
                    <a:pt x="668" y="88"/>
                    <a:pt x="699" y="94"/>
                    <a:pt x="728" y="106"/>
                  </a:cubicBezTo>
                  <a:cubicBezTo>
                    <a:pt x="756" y="118"/>
                    <a:pt x="782" y="135"/>
                    <a:pt x="805" y="158"/>
                  </a:cubicBezTo>
                  <a:cubicBezTo>
                    <a:pt x="989" y="342"/>
                    <a:pt x="908" y="342"/>
                    <a:pt x="1092" y="158"/>
                  </a:cubicBezTo>
                  <a:cubicBezTo>
                    <a:pt x="1115" y="135"/>
                    <a:pt x="1141" y="118"/>
                    <a:pt x="1169" y="106"/>
                  </a:cubicBezTo>
                  <a:cubicBezTo>
                    <a:pt x="1198" y="94"/>
                    <a:pt x="1229" y="88"/>
                    <a:pt x="1260" y="88"/>
                  </a:cubicBezTo>
                  <a:cubicBezTo>
                    <a:pt x="1291" y="88"/>
                    <a:pt x="1322" y="94"/>
                    <a:pt x="1352" y="106"/>
                  </a:cubicBezTo>
                  <a:cubicBezTo>
                    <a:pt x="1380" y="118"/>
                    <a:pt x="1406" y="135"/>
                    <a:pt x="1429" y="158"/>
                  </a:cubicBezTo>
                  <a:cubicBezTo>
                    <a:pt x="1613" y="342"/>
                    <a:pt x="1531" y="342"/>
                    <a:pt x="1716" y="158"/>
                  </a:cubicBezTo>
                  <a:cubicBezTo>
                    <a:pt x="1738" y="135"/>
                    <a:pt x="1765" y="118"/>
                    <a:pt x="1793" y="106"/>
                  </a:cubicBezTo>
                  <a:cubicBezTo>
                    <a:pt x="1822" y="94"/>
                    <a:pt x="1853" y="88"/>
                    <a:pt x="1884" y="88"/>
                  </a:cubicBezTo>
                  <a:cubicBezTo>
                    <a:pt x="1915" y="88"/>
                    <a:pt x="1946" y="94"/>
                    <a:pt x="1975" y="106"/>
                  </a:cubicBezTo>
                  <a:cubicBezTo>
                    <a:pt x="2003" y="118"/>
                    <a:pt x="2030" y="135"/>
                    <a:pt x="2052" y="158"/>
                  </a:cubicBezTo>
                  <a:cubicBezTo>
                    <a:pt x="2252" y="357"/>
                    <a:pt x="2159" y="357"/>
                    <a:pt x="2358" y="158"/>
                  </a:cubicBezTo>
                  <a:cubicBezTo>
                    <a:pt x="2381" y="135"/>
                    <a:pt x="2407" y="118"/>
                    <a:pt x="2435" y="106"/>
                  </a:cubicBezTo>
                  <a:cubicBezTo>
                    <a:pt x="2464" y="94"/>
                    <a:pt x="2495" y="88"/>
                    <a:pt x="2526" y="88"/>
                  </a:cubicBezTo>
                  <a:cubicBezTo>
                    <a:pt x="2557" y="88"/>
                    <a:pt x="2588" y="94"/>
                    <a:pt x="2618" y="106"/>
                  </a:cubicBezTo>
                  <a:cubicBezTo>
                    <a:pt x="2646" y="118"/>
                    <a:pt x="2672" y="135"/>
                    <a:pt x="2695" y="158"/>
                  </a:cubicBezTo>
                  <a:cubicBezTo>
                    <a:pt x="2715" y="178"/>
                    <a:pt x="2715" y="178"/>
                    <a:pt x="2715" y="178"/>
                  </a:cubicBezTo>
                  <a:cubicBezTo>
                    <a:pt x="2757" y="134"/>
                    <a:pt x="2753" y="135"/>
                    <a:pt x="2817" y="69"/>
                  </a:cubicBezTo>
                  <a:cubicBezTo>
                    <a:pt x="2793" y="75"/>
                    <a:pt x="2793" y="75"/>
                    <a:pt x="2793" y="75"/>
                  </a:cubicBezTo>
                  <a:cubicBezTo>
                    <a:pt x="2752" y="34"/>
                    <a:pt x="2752" y="34"/>
                    <a:pt x="2752" y="34"/>
                  </a:cubicBezTo>
                  <a:cubicBezTo>
                    <a:pt x="2890" y="0"/>
                    <a:pt x="2890" y="0"/>
                    <a:pt x="2890" y="0"/>
                  </a:cubicBezTo>
                  <a:cubicBezTo>
                    <a:pt x="2907" y="18"/>
                    <a:pt x="2907" y="18"/>
                    <a:pt x="2907" y="1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3" name="îṣliḍe">
              <a:extLst>
                <a:ext uri="{FF2B5EF4-FFF2-40B4-BE49-F238E27FC236}">
                  <a16:creationId xmlns:a16="http://schemas.microsoft.com/office/drawing/2014/main" id="{14DB8D54-A936-4250-A3B3-909717FCD13D}"/>
                </a:ext>
              </a:extLst>
            </p:cNvPr>
            <p:cNvSpPr/>
            <p:nvPr/>
          </p:nvSpPr>
          <p:spPr bwMode="auto">
            <a:xfrm>
              <a:off x="2222102" y="2252975"/>
              <a:ext cx="1944688" cy="1820863"/>
            </a:xfrm>
            <a:custGeom>
              <a:avLst/>
              <a:gdLst>
                <a:gd name="T0" fmla="*/ 22 w 562"/>
                <a:gd name="T1" fmla="*/ 285 h 525"/>
                <a:gd name="T2" fmla="*/ 241 w 562"/>
                <a:gd name="T3" fmla="*/ 503 h 525"/>
                <a:gd name="T4" fmla="*/ 321 w 562"/>
                <a:gd name="T5" fmla="*/ 503 h 525"/>
                <a:gd name="T6" fmla="*/ 540 w 562"/>
                <a:gd name="T7" fmla="*/ 285 h 525"/>
                <a:gd name="T8" fmla="*/ 540 w 562"/>
                <a:gd name="T9" fmla="*/ 204 h 525"/>
                <a:gd name="T10" fmla="*/ 401 w 562"/>
                <a:gd name="T11" fmla="*/ 66 h 525"/>
                <a:gd name="T12" fmla="*/ 160 w 562"/>
                <a:gd name="T13" fmla="*/ 66 h 525"/>
                <a:gd name="T14" fmla="*/ 22 w 562"/>
                <a:gd name="T15" fmla="*/ 204 h 525"/>
                <a:gd name="T16" fmla="*/ 22 w 562"/>
                <a:gd name="T17" fmla="*/ 28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2" h="525">
                  <a:moveTo>
                    <a:pt x="22" y="285"/>
                  </a:moveTo>
                  <a:cubicBezTo>
                    <a:pt x="241" y="503"/>
                    <a:pt x="241" y="503"/>
                    <a:pt x="241" y="503"/>
                  </a:cubicBezTo>
                  <a:cubicBezTo>
                    <a:pt x="263" y="525"/>
                    <a:pt x="299" y="525"/>
                    <a:pt x="321" y="503"/>
                  </a:cubicBezTo>
                  <a:cubicBezTo>
                    <a:pt x="540" y="285"/>
                    <a:pt x="540" y="285"/>
                    <a:pt x="540" y="285"/>
                  </a:cubicBezTo>
                  <a:cubicBezTo>
                    <a:pt x="562" y="263"/>
                    <a:pt x="562" y="227"/>
                    <a:pt x="540" y="204"/>
                  </a:cubicBezTo>
                  <a:cubicBezTo>
                    <a:pt x="401" y="66"/>
                    <a:pt x="401" y="66"/>
                    <a:pt x="401" y="66"/>
                  </a:cubicBezTo>
                  <a:cubicBezTo>
                    <a:pt x="335" y="0"/>
                    <a:pt x="227" y="0"/>
                    <a:pt x="160" y="66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0" y="227"/>
                    <a:pt x="0" y="263"/>
                    <a:pt x="22" y="285"/>
                  </a:cubicBezTo>
                  <a:close/>
                </a:path>
              </a:pathLst>
            </a:custGeom>
            <a:blipFill>
              <a:blip r:embed="rId3"/>
              <a:stretch>
                <a:fillRect l="-21762" t="-2187" r="-21491" b="-2187"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b="1" i="1" dirty="0">
                <a:solidFill>
                  <a:schemeClr val="tx1"/>
                </a:solidFill>
              </a:endParaRPr>
            </a:p>
          </p:txBody>
        </p:sp>
        <p:grpSp>
          <p:nvGrpSpPr>
            <p:cNvPr id="8" name="îṧḻïḓe">
              <a:extLst>
                <a:ext uri="{FF2B5EF4-FFF2-40B4-BE49-F238E27FC236}">
                  <a16:creationId xmlns:a16="http://schemas.microsoft.com/office/drawing/2014/main" id="{FFF4B4E8-2DA3-4F26-AFBE-4B1ED32F72F0}"/>
                </a:ext>
              </a:extLst>
            </p:cNvPr>
            <p:cNvGrpSpPr/>
            <p:nvPr/>
          </p:nvGrpSpPr>
          <p:grpSpPr>
            <a:xfrm>
              <a:off x="2382649" y="4207842"/>
              <a:ext cx="1623594" cy="1437787"/>
              <a:chOff x="6553263" y="4439485"/>
              <a:chExt cx="1361802" cy="1437787"/>
            </a:xfrm>
          </p:grpSpPr>
          <p:sp>
            <p:nvSpPr>
              <p:cNvPr id="30" name="i$1îḋe">
                <a:extLst>
                  <a:ext uri="{FF2B5EF4-FFF2-40B4-BE49-F238E27FC236}">
                    <a16:creationId xmlns:a16="http://schemas.microsoft.com/office/drawing/2014/main" id="{4396E447-760C-403A-B351-1B2C36B5146C}"/>
                  </a:ext>
                </a:extLst>
              </p:cNvPr>
              <p:cNvSpPr/>
              <p:nvPr/>
            </p:nvSpPr>
            <p:spPr bwMode="auto">
              <a:xfrm>
                <a:off x="6553263" y="4881290"/>
                <a:ext cx="1361802" cy="9959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门禁 </a:t>
                </a:r>
                <a:r>
                  <a:rPr lang="en-US" altLang="zh-CN" sz="1100" dirty="0"/>
                  <a:t>/</a:t>
                </a:r>
                <a:r>
                  <a:rPr lang="zh-CN" altLang="en-US" sz="1100" dirty="0"/>
                  <a:t>安防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支付</a:t>
                </a:r>
                <a:r>
                  <a:rPr lang="en-US" altLang="zh-CN" sz="1100" dirty="0"/>
                  <a:t>/</a:t>
                </a:r>
                <a:r>
                  <a:rPr lang="zh-CN" altLang="en-US" sz="1100" dirty="0"/>
                  <a:t>出入境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 …… </a:t>
                </a:r>
              </a:p>
            </p:txBody>
          </p:sp>
          <p:sp>
            <p:nvSpPr>
              <p:cNvPr id="31" name="iśḷiḑê">
                <a:extLst>
                  <a:ext uri="{FF2B5EF4-FFF2-40B4-BE49-F238E27FC236}">
                    <a16:creationId xmlns:a16="http://schemas.microsoft.com/office/drawing/2014/main" id="{ABB2CA4C-94B5-407F-B09B-B34AADEB3026}"/>
                  </a:ext>
                </a:extLst>
              </p:cNvPr>
              <p:cNvSpPr txBox="1"/>
              <p:nvPr/>
            </p:nvSpPr>
            <p:spPr bwMode="auto">
              <a:xfrm>
                <a:off x="6553263" y="4439485"/>
                <a:ext cx="136180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/>
                  <a:t>身份认证</a:t>
                </a:r>
                <a:endParaRPr lang="en-US" altLang="zh-CN" sz="1600" b="1" dirty="0"/>
              </a:p>
            </p:txBody>
          </p:sp>
        </p:grpSp>
        <p:sp>
          <p:nvSpPr>
            <p:cNvPr id="28" name="íṩľïdè">
              <a:extLst>
                <a:ext uri="{FF2B5EF4-FFF2-40B4-BE49-F238E27FC236}">
                  <a16:creationId xmlns:a16="http://schemas.microsoft.com/office/drawing/2014/main" id="{6A2F39DE-FDB8-4906-B739-2A39DE73F0A1}"/>
                </a:ext>
              </a:extLst>
            </p:cNvPr>
            <p:cNvSpPr/>
            <p:nvPr/>
          </p:nvSpPr>
          <p:spPr bwMode="auto">
            <a:xfrm>
              <a:off x="4409724" y="2270438"/>
              <a:ext cx="1944688" cy="1820863"/>
            </a:xfrm>
            <a:custGeom>
              <a:avLst/>
              <a:gdLst>
                <a:gd name="T0" fmla="*/ 23 w 562"/>
                <a:gd name="T1" fmla="*/ 285 h 525"/>
                <a:gd name="T2" fmla="*/ 241 w 562"/>
                <a:gd name="T3" fmla="*/ 503 h 525"/>
                <a:gd name="T4" fmla="*/ 321 w 562"/>
                <a:gd name="T5" fmla="*/ 503 h 525"/>
                <a:gd name="T6" fmla="*/ 540 w 562"/>
                <a:gd name="T7" fmla="*/ 285 h 525"/>
                <a:gd name="T8" fmla="*/ 540 w 562"/>
                <a:gd name="T9" fmla="*/ 204 h 525"/>
                <a:gd name="T10" fmla="*/ 402 w 562"/>
                <a:gd name="T11" fmla="*/ 66 h 525"/>
                <a:gd name="T12" fmla="*/ 161 w 562"/>
                <a:gd name="T13" fmla="*/ 66 h 525"/>
                <a:gd name="T14" fmla="*/ 23 w 562"/>
                <a:gd name="T15" fmla="*/ 204 h 525"/>
                <a:gd name="T16" fmla="*/ 23 w 562"/>
                <a:gd name="T17" fmla="*/ 28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2" h="525">
                  <a:moveTo>
                    <a:pt x="23" y="285"/>
                  </a:moveTo>
                  <a:cubicBezTo>
                    <a:pt x="241" y="503"/>
                    <a:pt x="241" y="503"/>
                    <a:pt x="241" y="503"/>
                  </a:cubicBezTo>
                  <a:cubicBezTo>
                    <a:pt x="263" y="525"/>
                    <a:pt x="299" y="525"/>
                    <a:pt x="321" y="503"/>
                  </a:cubicBezTo>
                  <a:cubicBezTo>
                    <a:pt x="540" y="285"/>
                    <a:pt x="540" y="285"/>
                    <a:pt x="540" y="285"/>
                  </a:cubicBezTo>
                  <a:cubicBezTo>
                    <a:pt x="562" y="263"/>
                    <a:pt x="562" y="227"/>
                    <a:pt x="540" y="204"/>
                  </a:cubicBezTo>
                  <a:cubicBezTo>
                    <a:pt x="402" y="66"/>
                    <a:pt x="402" y="66"/>
                    <a:pt x="402" y="66"/>
                  </a:cubicBezTo>
                  <a:cubicBezTo>
                    <a:pt x="335" y="0"/>
                    <a:pt x="227" y="0"/>
                    <a:pt x="161" y="66"/>
                  </a:cubicBezTo>
                  <a:cubicBezTo>
                    <a:pt x="23" y="204"/>
                    <a:pt x="23" y="204"/>
                    <a:pt x="23" y="204"/>
                  </a:cubicBezTo>
                  <a:cubicBezTo>
                    <a:pt x="0" y="227"/>
                    <a:pt x="0" y="263"/>
                    <a:pt x="23" y="285"/>
                  </a:cubicBezTo>
                  <a:close/>
                </a:path>
              </a:pathLst>
            </a:custGeom>
            <a:blipFill>
              <a:blip r:embed="rId4"/>
              <a:stretch>
                <a:fillRect l="-21794" t="-2187" r="-21524" b="-2187"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altLang="zh-CN" b="1" i="1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iŝļíḋê">
              <a:extLst>
                <a:ext uri="{FF2B5EF4-FFF2-40B4-BE49-F238E27FC236}">
                  <a16:creationId xmlns:a16="http://schemas.microsoft.com/office/drawing/2014/main" id="{FFF4B4E8-2DA3-4F26-AFBE-4B1ED32F72F0}"/>
                </a:ext>
              </a:extLst>
            </p:cNvPr>
            <p:cNvGrpSpPr/>
            <p:nvPr/>
          </p:nvGrpSpPr>
          <p:grpSpPr>
            <a:xfrm>
              <a:off x="4570271" y="4207842"/>
              <a:ext cx="1623594" cy="1437787"/>
              <a:chOff x="6553263" y="4439485"/>
              <a:chExt cx="1361802" cy="1437787"/>
            </a:xfrm>
          </p:grpSpPr>
          <p:sp>
            <p:nvSpPr>
              <p:cNvPr id="26" name="îS1íḍe">
                <a:extLst>
                  <a:ext uri="{FF2B5EF4-FFF2-40B4-BE49-F238E27FC236}">
                    <a16:creationId xmlns:a16="http://schemas.microsoft.com/office/drawing/2014/main" id="{4396E447-760C-403A-B351-1B2C36B5146C}"/>
                  </a:ext>
                </a:extLst>
              </p:cNvPr>
              <p:cNvSpPr/>
              <p:nvPr/>
            </p:nvSpPr>
            <p:spPr bwMode="auto">
              <a:xfrm>
                <a:off x="6553263" y="4881290"/>
                <a:ext cx="1361802" cy="9959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美颜</a:t>
                </a:r>
                <a:r>
                  <a:rPr lang="en-US" altLang="zh-CN" sz="1100" dirty="0"/>
                  <a:t>/</a:t>
                </a:r>
                <a:r>
                  <a:rPr lang="zh-CN" altLang="en-US" sz="1100" dirty="0"/>
                  <a:t>换脸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大眼</a:t>
                </a:r>
                <a:r>
                  <a:rPr lang="en-US" altLang="zh-CN" sz="1100" dirty="0"/>
                  <a:t>/</a:t>
                </a:r>
                <a:r>
                  <a:rPr lang="zh-CN" altLang="en-US" sz="1100" dirty="0"/>
                  <a:t>廋脸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 …… </a:t>
                </a:r>
              </a:p>
            </p:txBody>
          </p:sp>
          <p:sp>
            <p:nvSpPr>
              <p:cNvPr id="27" name="ïşľîde">
                <a:extLst>
                  <a:ext uri="{FF2B5EF4-FFF2-40B4-BE49-F238E27FC236}">
                    <a16:creationId xmlns:a16="http://schemas.microsoft.com/office/drawing/2014/main" id="{ABB2CA4C-94B5-407F-B09B-B34AADEB3026}"/>
                  </a:ext>
                </a:extLst>
              </p:cNvPr>
              <p:cNvSpPr txBox="1"/>
              <p:nvPr/>
            </p:nvSpPr>
            <p:spPr bwMode="auto">
              <a:xfrm>
                <a:off x="6553263" y="4439485"/>
                <a:ext cx="136180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娱乐</a:t>
                </a:r>
                <a:endParaRPr lang="en-US" altLang="zh-CN" sz="1600" b="1" dirty="0"/>
              </a:p>
            </p:txBody>
          </p:sp>
        </p:grpSp>
        <p:sp>
          <p:nvSpPr>
            <p:cNvPr id="24" name="íšḻïḓe">
              <a:extLst>
                <a:ext uri="{FF2B5EF4-FFF2-40B4-BE49-F238E27FC236}">
                  <a16:creationId xmlns:a16="http://schemas.microsoft.com/office/drawing/2014/main" id="{956ABDA5-E549-4122-A460-47DE9911F649}"/>
                </a:ext>
              </a:extLst>
            </p:cNvPr>
            <p:cNvSpPr/>
            <p:nvPr/>
          </p:nvSpPr>
          <p:spPr bwMode="auto">
            <a:xfrm>
              <a:off x="6597346" y="2270438"/>
              <a:ext cx="1944688" cy="1820863"/>
            </a:xfrm>
            <a:custGeom>
              <a:avLst/>
              <a:gdLst>
                <a:gd name="T0" fmla="*/ 22 w 562"/>
                <a:gd name="T1" fmla="*/ 285 h 525"/>
                <a:gd name="T2" fmla="*/ 241 w 562"/>
                <a:gd name="T3" fmla="*/ 503 h 525"/>
                <a:gd name="T4" fmla="*/ 321 w 562"/>
                <a:gd name="T5" fmla="*/ 503 h 525"/>
                <a:gd name="T6" fmla="*/ 540 w 562"/>
                <a:gd name="T7" fmla="*/ 285 h 525"/>
                <a:gd name="T8" fmla="*/ 540 w 562"/>
                <a:gd name="T9" fmla="*/ 204 h 525"/>
                <a:gd name="T10" fmla="*/ 401 w 562"/>
                <a:gd name="T11" fmla="*/ 66 h 525"/>
                <a:gd name="T12" fmla="*/ 161 w 562"/>
                <a:gd name="T13" fmla="*/ 66 h 525"/>
                <a:gd name="T14" fmla="*/ 22 w 562"/>
                <a:gd name="T15" fmla="*/ 204 h 525"/>
                <a:gd name="T16" fmla="*/ 22 w 562"/>
                <a:gd name="T17" fmla="*/ 28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2" h="525">
                  <a:moveTo>
                    <a:pt x="22" y="285"/>
                  </a:moveTo>
                  <a:cubicBezTo>
                    <a:pt x="241" y="503"/>
                    <a:pt x="241" y="503"/>
                    <a:pt x="241" y="503"/>
                  </a:cubicBezTo>
                  <a:cubicBezTo>
                    <a:pt x="263" y="525"/>
                    <a:pt x="299" y="525"/>
                    <a:pt x="321" y="503"/>
                  </a:cubicBezTo>
                  <a:cubicBezTo>
                    <a:pt x="540" y="285"/>
                    <a:pt x="540" y="285"/>
                    <a:pt x="540" y="285"/>
                  </a:cubicBezTo>
                  <a:cubicBezTo>
                    <a:pt x="562" y="263"/>
                    <a:pt x="562" y="227"/>
                    <a:pt x="540" y="204"/>
                  </a:cubicBezTo>
                  <a:cubicBezTo>
                    <a:pt x="401" y="66"/>
                    <a:pt x="401" y="66"/>
                    <a:pt x="401" y="66"/>
                  </a:cubicBezTo>
                  <a:cubicBezTo>
                    <a:pt x="335" y="0"/>
                    <a:pt x="227" y="0"/>
                    <a:pt x="161" y="66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0" y="227"/>
                    <a:pt x="0" y="263"/>
                    <a:pt x="22" y="285"/>
                  </a:cubicBezTo>
                  <a:close/>
                </a:path>
              </a:pathLst>
            </a:custGeom>
            <a:blipFill>
              <a:blip r:embed="rId5"/>
              <a:stretch>
                <a:fillRect l="-21762" t="-2187" r="-21491" b="-2187"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altLang="zh-CN" b="1" i="1" dirty="0">
                <a:solidFill>
                  <a:schemeClr val="tx1"/>
                </a:solidFill>
              </a:endParaRPr>
            </a:p>
          </p:txBody>
        </p:sp>
        <p:grpSp>
          <p:nvGrpSpPr>
            <p:cNvPr id="12" name="iṡ1íḓe">
              <a:extLst>
                <a:ext uri="{FF2B5EF4-FFF2-40B4-BE49-F238E27FC236}">
                  <a16:creationId xmlns:a16="http://schemas.microsoft.com/office/drawing/2014/main" id="{FFF4B4E8-2DA3-4F26-AFBE-4B1ED32F72F0}"/>
                </a:ext>
              </a:extLst>
            </p:cNvPr>
            <p:cNvGrpSpPr/>
            <p:nvPr/>
          </p:nvGrpSpPr>
          <p:grpSpPr>
            <a:xfrm>
              <a:off x="6757894" y="4207842"/>
              <a:ext cx="1623594" cy="1437787"/>
              <a:chOff x="6553263" y="4439485"/>
              <a:chExt cx="1361802" cy="1437787"/>
            </a:xfrm>
          </p:grpSpPr>
          <p:sp>
            <p:nvSpPr>
              <p:cNvPr id="22" name="ïşļïḑè">
                <a:extLst>
                  <a:ext uri="{FF2B5EF4-FFF2-40B4-BE49-F238E27FC236}">
                    <a16:creationId xmlns:a16="http://schemas.microsoft.com/office/drawing/2014/main" id="{4396E447-760C-403A-B351-1B2C36B5146C}"/>
                  </a:ext>
                </a:extLst>
              </p:cNvPr>
              <p:cNvSpPr/>
              <p:nvPr/>
            </p:nvSpPr>
            <p:spPr bwMode="auto">
              <a:xfrm>
                <a:off x="6553263" y="4881290"/>
                <a:ext cx="1361802" cy="9959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客流量统计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游客统计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 …… </a:t>
                </a:r>
              </a:p>
            </p:txBody>
          </p:sp>
          <p:sp>
            <p:nvSpPr>
              <p:cNvPr id="23" name="ïšľîďe">
                <a:extLst>
                  <a:ext uri="{FF2B5EF4-FFF2-40B4-BE49-F238E27FC236}">
                    <a16:creationId xmlns:a16="http://schemas.microsoft.com/office/drawing/2014/main" id="{ABB2CA4C-94B5-407F-B09B-B34AADEB3026}"/>
                  </a:ext>
                </a:extLst>
              </p:cNvPr>
              <p:cNvSpPr txBox="1"/>
              <p:nvPr/>
            </p:nvSpPr>
            <p:spPr bwMode="auto">
              <a:xfrm>
                <a:off x="6553263" y="4439485"/>
                <a:ext cx="136180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商业统计</a:t>
                </a:r>
                <a:endParaRPr lang="en-US" altLang="zh-CN" sz="1600" b="1" dirty="0"/>
              </a:p>
            </p:txBody>
          </p:sp>
        </p:grpSp>
        <p:sp>
          <p:nvSpPr>
            <p:cNvPr id="20" name="iŝḻîḋé">
              <a:extLst>
                <a:ext uri="{FF2B5EF4-FFF2-40B4-BE49-F238E27FC236}">
                  <a16:creationId xmlns:a16="http://schemas.microsoft.com/office/drawing/2014/main" id="{3CB467E4-1783-4117-B8F4-C4BFEDD96446}"/>
                </a:ext>
              </a:extLst>
            </p:cNvPr>
            <p:cNvSpPr/>
            <p:nvPr/>
          </p:nvSpPr>
          <p:spPr bwMode="auto">
            <a:xfrm>
              <a:off x="8784969" y="2270438"/>
              <a:ext cx="1817688" cy="1820863"/>
            </a:xfrm>
            <a:custGeom>
              <a:avLst/>
              <a:gdLst>
                <a:gd name="T0" fmla="*/ 22 w 525"/>
                <a:gd name="T1" fmla="*/ 285 h 525"/>
                <a:gd name="T2" fmla="*/ 240 w 525"/>
                <a:gd name="T3" fmla="*/ 503 h 525"/>
                <a:gd name="T4" fmla="*/ 320 w 525"/>
                <a:gd name="T5" fmla="*/ 503 h 525"/>
                <a:gd name="T6" fmla="*/ 459 w 525"/>
                <a:gd name="T7" fmla="*/ 365 h 525"/>
                <a:gd name="T8" fmla="*/ 459 w 525"/>
                <a:gd name="T9" fmla="*/ 124 h 525"/>
                <a:gd name="T10" fmla="*/ 401 w 525"/>
                <a:gd name="T11" fmla="*/ 66 h 525"/>
                <a:gd name="T12" fmla="*/ 160 w 525"/>
                <a:gd name="T13" fmla="*/ 66 h 525"/>
                <a:gd name="T14" fmla="*/ 22 w 525"/>
                <a:gd name="T15" fmla="*/ 204 h 525"/>
                <a:gd name="T16" fmla="*/ 22 w 525"/>
                <a:gd name="T17" fmla="*/ 28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5" h="525">
                  <a:moveTo>
                    <a:pt x="22" y="285"/>
                  </a:moveTo>
                  <a:cubicBezTo>
                    <a:pt x="240" y="503"/>
                    <a:pt x="240" y="503"/>
                    <a:pt x="240" y="503"/>
                  </a:cubicBezTo>
                  <a:cubicBezTo>
                    <a:pt x="262" y="525"/>
                    <a:pt x="298" y="525"/>
                    <a:pt x="320" y="503"/>
                  </a:cubicBezTo>
                  <a:cubicBezTo>
                    <a:pt x="459" y="365"/>
                    <a:pt x="459" y="365"/>
                    <a:pt x="459" y="365"/>
                  </a:cubicBezTo>
                  <a:cubicBezTo>
                    <a:pt x="525" y="299"/>
                    <a:pt x="525" y="190"/>
                    <a:pt x="459" y="124"/>
                  </a:cubicBezTo>
                  <a:cubicBezTo>
                    <a:pt x="401" y="66"/>
                    <a:pt x="401" y="66"/>
                    <a:pt x="401" y="66"/>
                  </a:cubicBezTo>
                  <a:cubicBezTo>
                    <a:pt x="334" y="0"/>
                    <a:pt x="226" y="0"/>
                    <a:pt x="160" y="66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0" y="227"/>
                    <a:pt x="0" y="263"/>
                    <a:pt x="22" y="285"/>
                  </a:cubicBezTo>
                  <a:close/>
                </a:path>
              </a:pathLst>
            </a:custGeom>
            <a:blipFill>
              <a:blip r:embed="rId6"/>
              <a:stretch>
                <a:fillRect l="-2279" t="-2187" r="-2277" b="-2187"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altLang="zh-CN" b="1" i="1" dirty="0">
                <a:solidFill>
                  <a:schemeClr val="tx1"/>
                </a:solidFill>
              </a:endParaRPr>
            </a:p>
          </p:txBody>
        </p:sp>
        <p:grpSp>
          <p:nvGrpSpPr>
            <p:cNvPr id="14" name="íṧ1íďê">
              <a:extLst>
                <a:ext uri="{FF2B5EF4-FFF2-40B4-BE49-F238E27FC236}">
                  <a16:creationId xmlns:a16="http://schemas.microsoft.com/office/drawing/2014/main" id="{FFF4B4E8-2DA3-4F26-AFBE-4B1ED32F72F0}"/>
                </a:ext>
              </a:extLst>
            </p:cNvPr>
            <p:cNvGrpSpPr/>
            <p:nvPr/>
          </p:nvGrpSpPr>
          <p:grpSpPr>
            <a:xfrm>
              <a:off x="8882016" y="4207842"/>
              <a:ext cx="1623594" cy="1437787"/>
              <a:chOff x="6553263" y="4439485"/>
              <a:chExt cx="1361802" cy="1437787"/>
            </a:xfrm>
          </p:grpSpPr>
          <p:sp>
            <p:nvSpPr>
              <p:cNvPr id="18" name="îŝļiḋè">
                <a:extLst>
                  <a:ext uri="{FF2B5EF4-FFF2-40B4-BE49-F238E27FC236}">
                    <a16:creationId xmlns:a16="http://schemas.microsoft.com/office/drawing/2014/main" id="{4396E447-760C-403A-B351-1B2C36B5146C}"/>
                  </a:ext>
                </a:extLst>
              </p:cNvPr>
              <p:cNvSpPr/>
              <p:nvPr/>
            </p:nvSpPr>
            <p:spPr bwMode="auto">
              <a:xfrm>
                <a:off x="6553263" y="4881290"/>
                <a:ext cx="1361802" cy="9959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情感识别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姿态识别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 …… </a:t>
                </a:r>
              </a:p>
            </p:txBody>
          </p:sp>
          <p:sp>
            <p:nvSpPr>
              <p:cNvPr id="19" name="ïṣḻîḑè">
                <a:extLst>
                  <a:ext uri="{FF2B5EF4-FFF2-40B4-BE49-F238E27FC236}">
                    <a16:creationId xmlns:a16="http://schemas.microsoft.com/office/drawing/2014/main" id="{ABB2CA4C-94B5-407F-B09B-B34AADEB3026}"/>
                  </a:ext>
                </a:extLst>
              </p:cNvPr>
              <p:cNvSpPr txBox="1"/>
              <p:nvPr/>
            </p:nvSpPr>
            <p:spPr bwMode="auto">
              <a:xfrm>
                <a:off x="6553263" y="4439485"/>
                <a:ext cx="136180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更多研究</a:t>
                </a:r>
                <a:endParaRPr lang="en-US" altLang="zh-CN" sz="1600" b="1" dirty="0"/>
              </a:p>
            </p:txBody>
          </p:sp>
        </p:grp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1C3B0738-42F3-4526-B6B4-72BB5C7DAA2A}"/>
                </a:ext>
              </a:extLst>
            </p:cNvPr>
            <p:cNvCxnSpPr/>
            <p:nvPr/>
          </p:nvCxnSpPr>
          <p:spPr>
            <a:xfrm>
              <a:off x="4288257" y="4412769"/>
              <a:ext cx="0" cy="1721331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0BA4AFD3-E0F2-4950-B4C2-8113F5B12632}"/>
                </a:ext>
              </a:extLst>
            </p:cNvPr>
            <p:cNvCxnSpPr/>
            <p:nvPr/>
          </p:nvCxnSpPr>
          <p:spPr>
            <a:xfrm>
              <a:off x="6475879" y="4412769"/>
              <a:ext cx="0" cy="1721331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480CFD9D-D247-4681-AA62-A25CA6A8C1B6}"/>
                </a:ext>
              </a:extLst>
            </p:cNvPr>
            <p:cNvCxnSpPr/>
            <p:nvPr/>
          </p:nvCxnSpPr>
          <p:spPr>
            <a:xfrm>
              <a:off x="8663501" y="4412769"/>
              <a:ext cx="0" cy="1721331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5456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8BFCDA-1515-416C-9677-5BF10AFB2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源项目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E827289-3C5F-43E1-9891-C97079977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E33783-A116-48D0-AEC5-4ABA1BBB6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2204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D9C69D8-E61E-436B-87B6-8B54B482795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32284" y="1580254"/>
            <a:ext cx="10727431" cy="4116592"/>
            <a:chOff x="732284" y="1580254"/>
            <a:chExt cx="10727431" cy="4116592"/>
          </a:xfrm>
        </p:grpSpPr>
        <p:sp>
          <p:nvSpPr>
            <p:cNvPr id="6" name="ïṡľîdè">
              <a:extLst>
                <a:ext uri="{FF2B5EF4-FFF2-40B4-BE49-F238E27FC236}">
                  <a16:creationId xmlns:a16="http://schemas.microsoft.com/office/drawing/2014/main" id="{DF813954-941F-4D5C-843A-E29C89090CD6}"/>
                </a:ext>
              </a:extLst>
            </p:cNvPr>
            <p:cNvSpPr/>
            <p:nvPr/>
          </p:nvSpPr>
          <p:spPr bwMode="auto">
            <a:xfrm>
              <a:off x="4490313" y="2648021"/>
              <a:ext cx="532762" cy="494587"/>
            </a:xfrm>
            <a:custGeom>
              <a:avLst/>
              <a:gdLst>
                <a:gd name="connsiteX0" fmla="*/ 331621 w 608704"/>
                <a:gd name="connsiteY0" fmla="*/ 496781 h 565088"/>
                <a:gd name="connsiteX1" fmla="*/ 441006 w 608704"/>
                <a:gd name="connsiteY1" fmla="*/ 496781 h 565088"/>
                <a:gd name="connsiteX2" fmla="*/ 446506 w 608704"/>
                <a:gd name="connsiteY2" fmla="*/ 497758 h 565088"/>
                <a:gd name="connsiteX3" fmla="*/ 454289 w 608704"/>
                <a:gd name="connsiteY3" fmla="*/ 504273 h 565088"/>
                <a:gd name="connsiteX4" fmla="*/ 456526 w 608704"/>
                <a:gd name="connsiteY4" fmla="*/ 512276 h 565088"/>
                <a:gd name="connsiteX5" fmla="*/ 456526 w 608704"/>
                <a:gd name="connsiteY5" fmla="*/ 517999 h 565088"/>
                <a:gd name="connsiteX6" fmla="*/ 456526 w 608704"/>
                <a:gd name="connsiteY6" fmla="*/ 549547 h 565088"/>
                <a:gd name="connsiteX7" fmla="*/ 441006 w 608704"/>
                <a:gd name="connsiteY7" fmla="*/ 565088 h 565088"/>
                <a:gd name="connsiteX8" fmla="*/ 331621 w 608704"/>
                <a:gd name="connsiteY8" fmla="*/ 565088 h 565088"/>
                <a:gd name="connsiteX9" fmla="*/ 316101 w 608704"/>
                <a:gd name="connsiteY9" fmla="*/ 549547 h 565088"/>
                <a:gd name="connsiteX10" fmla="*/ 316101 w 608704"/>
                <a:gd name="connsiteY10" fmla="*/ 517627 h 565088"/>
                <a:gd name="connsiteX11" fmla="*/ 316101 w 608704"/>
                <a:gd name="connsiteY11" fmla="*/ 512276 h 565088"/>
                <a:gd name="connsiteX12" fmla="*/ 318525 w 608704"/>
                <a:gd name="connsiteY12" fmla="*/ 503947 h 565088"/>
                <a:gd name="connsiteX13" fmla="*/ 326401 w 608704"/>
                <a:gd name="connsiteY13" fmla="*/ 497712 h 565088"/>
                <a:gd name="connsiteX14" fmla="*/ 331621 w 608704"/>
                <a:gd name="connsiteY14" fmla="*/ 496781 h 565088"/>
                <a:gd name="connsiteX15" fmla="*/ 166349 w 608704"/>
                <a:gd name="connsiteY15" fmla="*/ 496640 h 565088"/>
                <a:gd name="connsiteX16" fmla="*/ 275680 w 608704"/>
                <a:gd name="connsiteY16" fmla="*/ 496640 h 565088"/>
                <a:gd name="connsiteX17" fmla="*/ 282109 w 608704"/>
                <a:gd name="connsiteY17" fmla="*/ 498083 h 565088"/>
                <a:gd name="connsiteX18" fmla="*/ 289515 w 608704"/>
                <a:gd name="connsiteY18" fmla="*/ 505202 h 565088"/>
                <a:gd name="connsiteX19" fmla="*/ 291192 w 608704"/>
                <a:gd name="connsiteY19" fmla="*/ 512181 h 565088"/>
                <a:gd name="connsiteX20" fmla="*/ 291192 w 608704"/>
                <a:gd name="connsiteY20" fmla="*/ 518928 h 565088"/>
                <a:gd name="connsiteX21" fmla="*/ 291192 w 608704"/>
                <a:gd name="connsiteY21" fmla="*/ 549453 h 565088"/>
                <a:gd name="connsiteX22" fmla="*/ 275680 w 608704"/>
                <a:gd name="connsiteY22" fmla="*/ 564947 h 565088"/>
                <a:gd name="connsiteX23" fmla="*/ 166349 w 608704"/>
                <a:gd name="connsiteY23" fmla="*/ 564947 h 565088"/>
                <a:gd name="connsiteX24" fmla="*/ 150884 w 608704"/>
                <a:gd name="connsiteY24" fmla="*/ 549406 h 565088"/>
                <a:gd name="connsiteX25" fmla="*/ 150884 w 608704"/>
                <a:gd name="connsiteY25" fmla="*/ 516276 h 565088"/>
                <a:gd name="connsiteX26" fmla="*/ 150884 w 608704"/>
                <a:gd name="connsiteY26" fmla="*/ 512181 h 565088"/>
                <a:gd name="connsiteX27" fmla="*/ 153912 w 608704"/>
                <a:gd name="connsiteY27" fmla="*/ 502922 h 565088"/>
                <a:gd name="connsiteX28" fmla="*/ 162064 w 608704"/>
                <a:gd name="connsiteY28" fmla="*/ 497292 h 565088"/>
                <a:gd name="connsiteX29" fmla="*/ 166349 w 608704"/>
                <a:gd name="connsiteY29" fmla="*/ 496640 h 565088"/>
                <a:gd name="connsiteX30" fmla="*/ 560321 w 608704"/>
                <a:gd name="connsiteY30" fmla="*/ 169851 h 565088"/>
                <a:gd name="connsiteX31" fmla="*/ 572108 w 608704"/>
                <a:gd name="connsiteY31" fmla="*/ 175247 h 565088"/>
                <a:gd name="connsiteX32" fmla="*/ 577884 w 608704"/>
                <a:gd name="connsiteY32" fmla="*/ 346298 h 565088"/>
                <a:gd name="connsiteX33" fmla="*/ 535489 w 608704"/>
                <a:gd name="connsiteY33" fmla="*/ 388677 h 565088"/>
                <a:gd name="connsiteX34" fmla="*/ 492862 w 608704"/>
                <a:gd name="connsiteY34" fmla="*/ 424822 h 565088"/>
                <a:gd name="connsiteX35" fmla="*/ 455964 w 608704"/>
                <a:gd name="connsiteY35" fmla="*/ 451292 h 565088"/>
                <a:gd name="connsiteX36" fmla="*/ 446972 w 608704"/>
                <a:gd name="connsiteY36" fmla="*/ 468876 h 565088"/>
                <a:gd name="connsiteX37" fmla="*/ 446879 w 608704"/>
                <a:gd name="connsiteY37" fmla="*/ 478645 h 565088"/>
                <a:gd name="connsiteX38" fmla="*/ 441056 w 608704"/>
                <a:gd name="connsiteY38" fmla="*/ 478180 h 565088"/>
                <a:gd name="connsiteX39" fmla="*/ 331714 w 608704"/>
                <a:gd name="connsiteY39" fmla="*/ 478180 h 565088"/>
                <a:gd name="connsiteX40" fmla="*/ 326263 w 608704"/>
                <a:gd name="connsiteY40" fmla="*/ 478598 h 565088"/>
                <a:gd name="connsiteX41" fmla="*/ 326263 w 608704"/>
                <a:gd name="connsiteY41" fmla="*/ 409517 h 565088"/>
                <a:gd name="connsiteX42" fmla="*/ 327148 w 608704"/>
                <a:gd name="connsiteY42" fmla="*/ 404307 h 565088"/>
                <a:gd name="connsiteX43" fmla="*/ 434301 w 608704"/>
                <a:gd name="connsiteY43" fmla="*/ 313130 h 565088"/>
                <a:gd name="connsiteX44" fmla="*/ 441568 w 608704"/>
                <a:gd name="connsiteY44" fmla="*/ 309036 h 565088"/>
                <a:gd name="connsiteX45" fmla="*/ 476136 w 608704"/>
                <a:gd name="connsiteY45" fmla="*/ 274472 h 565088"/>
                <a:gd name="connsiteX46" fmla="*/ 487131 w 608704"/>
                <a:gd name="connsiteY46" fmla="*/ 269960 h 565088"/>
                <a:gd name="connsiteX47" fmla="*/ 498126 w 608704"/>
                <a:gd name="connsiteY47" fmla="*/ 274472 h 565088"/>
                <a:gd name="connsiteX48" fmla="*/ 510612 w 608704"/>
                <a:gd name="connsiteY48" fmla="*/ 286986 h 565088"/>
                <a:gd name="connsiteX49" fmla="*/ 513873 w 608704"/>
                <a:gd name="connsiteY49" fmla="*/ 290242 h 565088"/>
                <a:gd name="connsiteX50" fmla="*/ 513873 w 608704"/>
                <a:gd name="connsiteY50" fmla="*/ 312199 h 565088"/>
                <a:gd name="connsiteX51" fmla="*/ 445948 w 608704"/>
                <a:gd name="connsiteY51" fmla="*/ 379978 h 565088"/>
                <a:gd name="connsiteX52" fmla="*/ 445948 w 608704"/>
                <a:gd name="connsiteY52" fmla="*/ 388723 h 565088"/>
                <a:gd name="connsiteX53" fmla="*/ 447159 w 608704"/>
                <a:gd name="connsiteY53" fmla="*/ 389886 h 565088"/>
                <a:gd name="connsiteX54" fmla="*/ 451538 w 608704"/>
                <a:gd name="connsiteY54" fmla="*/ 391700 h 565088"/>
                <a:gd name="connsiteX55" fmla="*/ 455964 w 608704"/>
                <a:gd name="connsiteY55" fmla="*/ 389886 h 565088"/>
                <a:gd name="connsiteX56" fmla="*/ 533626 w 608704"/>
                <a:gd name="connsiteY56" fmla="*/ 312292 h 565088"/>
                <a:gd name="connsiteX57" fmla="*/ 533999 w 608704"/>
                <a:gd name="connsiteY57" fmla="*/ 209345 h 565088"/>
                <a:gd name="connsiteX58" fmla="*/ 535024 w 608704"/>
                <a:gd name="connsiteY58" fmla="*/ 188644 h 565088"/>
                <a:gd name="connsiteX59" fmla="*/ 535909 w 608704"/>
                <a:gd name="connsiteY59" fmla="*/ 187761 h 565088"/>
                <a:gd name="connsiteX60" fmla="*/ 549326 w 608704"/>
                <a:gd name="connsiteY60" fmla="*/ 174363 h 565088"/>
                <a:gd name="connsiteX61" fmla="*/ 560321 w 608704"/>
                <a:gd name="connsiteY61" fmla="*/ 169851 h 565088"/>
                <a:gd name="connsiteX62" fmla="*/ 48337 w 608704"/>
                <a:gd name="connsiteY62" fmla="*/ 169851 h 565088"/>
                <a:gd name="connsiteX63" fmla="*/ 59331 w 608704"/>
                <a:gd name="connsiteY63" fmla="*/ 174364 h 565088"/>
                <a:gd name="connsiteX64" fmla="*/ 72749 w 608704"/>
                <a:gd name="connsiteY64" fmla="*/ 187763 h 565088"/>
                <a:gd name="connsiteX65" fmla="*/ 73587 w 608704"/>
                <a:gd name="connsiteY65" fmla="*/ 188647 h 565088"/>
                <a:gd name="connsiteX66" fmla="*/ 74659 w 608704"/>
                <a:gd name="connsiteY66" fmla="*/ 209352 h 565088"/>
                <a:gd name="connsiteX67" fmla="*/ 75031 w 608704"/>
                <a:gd name="connsiteY67" fmla="*/ 312361 h 565088"/>
                <a:gd name="connsiteX68" fmla="*/ 152601 w 608704"/>
                <a:gd name="connsiteY68" fmla="*/ 389874 h 565088"/>
                <a:gd name="connsiteX69" fmla="*/ 157027 w 608704"/>
                <a:gd name="connsiteY69" fmla="*/ 391688 h 565088"/>
                <a:gd name="connsiteX70" fmla="*/ 161452 w 608704"/>
                <a:gd name="connsiteY70" fmla="*/ 389874 h 565088"/>
                <a:gd name="connsiteX71" fmla="*/ 162617 w 608704"/>
                <a:gd name="connsiteY71" fmla="*/ 388711 h 565088"/>
                <a:gd name="connsiteX72" fmla="*/ 162617 w 608704"/>
                <a:gd name="connsiteY72" fmla="*/ 379964 h 565088"/>
                <a:gd name="connsiteX73" fmla="*/ 94738 w 608704"/>
                <a:gd name="connsiteY73" fmla="*/ 312175 h 565088"/>
                <a:gd name="connsiteX74" fmla="*/ 94738 w 608704"/>
                <a:gd name="connsiteY74" fmla="*/ 290214 h 565088"/>
                <a:gd name="connsiteX75" fmla="*/ 97953 w 608704"/>
                <a:gd name="connsiteY75" fmla="*/ 286958 h 565088"/>
                <a:gd name="connsiteX76" fmla="*/ 110485 w 608704"/>
                <a:gd name="connsiteY76" fmla="*/ 274442 h 565088"/>
                <a:gd name="connsiteX77" fmla="*/ 121480 w 608704"/>
                <a:gd name="connsiteY77" fmla="*/ 269929 h 565088"/>
                <a:gd name="connsiteX78" fmla="*/ 132474 w 608704"/>
                <a:gd name="connsiteY78" fmla="*/ 274442 h 565088"/>
                <a:gd name="connsiteX79" fmla="*/ 167136 w 608704"/>
                <a:gd name="connsiteY79" fmla="*/ 309011 h 565088"/>
                <a:gd name="connsiteX80" fmla="*/ 174404 w 608704"/>
                <a:gd name="connsiteY80" fmla="*/ 313105 h 565088"/>
                <a:gd name="connsiteX81" fmla="*/ 281556 w 608704"/>
                <a:gd name="connsiteY81" fmla="*/ 404297 h 565088"/>
                <a:gd name="connsiteX82" fmla="*/ 282441 w 608704"/>
                <a:gd name="connsiteY82" fmla="*/ 409508 h 565088"/>
                <a:gd name="connsiteX83" fmla="*/ 282441 w 608704"/>
                <a:gd name="connsiteY83" fmla="*/ 478786 h 565088"/>
                <a:gd name="connsiteX84" fmla="*/ 275686 w 608704"/>
                <a:gd name="connsiteY84" fmla="*/ 478088 h 565088"/>
                <a:gd name="connsiteX85" fmla="*/ 166344 w 608704"/>
                <a:gd name="connsiteY85" fmla="*/ 478088 h 565088"/>
                <a:gd name="connsiteX86" fmla="*/ 161825 w 608704"/>
                <a:gd name="connsiteY86" fmla="*/ 478414 h 565088"/>
                <a:gd name="connsiteX87" fmla="*/ 161732 w 608704"/>
                <a:gd name="connsiteY87" fmla="*/ 468783 h 565088"/>
                <a:gd name="connsiteX88" fmla="*/ 152741 w 608704"/>
                <a:gd name="connsiteY88" fmla="*/ 451242 h 565088"/>
                <a:gd name="connsiteX89" fmla="*/ 115842 w 608704"/>
                <a:gd name="connsiteY89" fmla="*/ 424769 h 565088"/>
                <a:gd name="connsiteX90" fmla="*/ 73215 w 608704"/>
                <a:gd name="connsiteY90" fmla="*/ 388711 h 565088"/>
                <a:gd name="connsiteX91" fmla="*/ 30820 w 608704"/>
                <a:gd name="connsiteY91" fmla="*/ 346325 h 565088"/>
                <a:gd name="connsiteX92" fmla="*/ 36596 w 608704"/>
                <a:gd name="connsiteY92" fmla="*/ 175248 h 565088"/>
                <a:gd name="connsiteX93" fmla="*/ 48337 w 608704"/>
                <a:gd name="connsiteY93" fmla="*/ 169851 h 565088"/>
                <a:gd name="connsiteX94" fmla="*/ 101464 w 608704"/>
                <a:gd name="connsiteY94" fmla="*/ 164593 h 565088"/>
                <a:gd name="connsiteX95" fmla="*/ 112641 w 608704"/>
                <a:gd name="connsiteY95" fmla="*/ 169193 h 565088"/>
                <a:gd name="connsiteX96" fmla="*/ 131324 w 608704"/>
                <a:gd name="connsiteY96" fmla="*/ 188128 h 565088"/>
                <a:gd name="connsiteX97" fmla="*/ 131557 w 608704"/>
                <a:gd name="connsiteY97" fmla="*/ 209667 h 565088"/>
                <a:gd name="connsiteX98" fmla="*/ 117486 w 608704"/>
                <a:gd name="connsiteY98" fmla="*/ 224601 h 565088"/>
                <a:gd name="connsiteX99" fmla="*/ 94656 w 608704"/>
                <a:gd name="connsiteY99" fmla="*/ 264005 h 565088"/>
                <a:gd name="connsiteX100" fmla="*/ 81564 w 608704"/>
                <a:gd name="connsiteY100" fmla="*/ 277078 h 565088"/>
                <a:gd name="connsiteX101" fmla="*/ 77091 w 608704"/>
                <a:gd name="connsiteY101" fmla="*/ 282614 h 565088"/>
                <a:gd name="connsiteX102" fmla="*/ 74435 w 608704"/>
                <a:gd name="connsiteY102" fmla="*/ 275542 h 565088"/>
                <a:gd name="connsiteX103" fmla="*/ 73224 w 608704"/>
                <a:gd name="connsiteY103" fmla="*/ 252188 h 565088"/>
                <a:gd name="connsiteX104" fmla="*/ 89158 w 608704"/>
                <a:gd name="connsiteY104" fmla="*/ 221205 h 565088"/>
                <a:gd name="connsiteX105" fmla="*/ 96799 w 608704"/>
                <a:gd name="connsiteY105" fmla="*/ 197851 h 565088"/>
                <a:gd name="connsiteX106" fmla="*/ 86782 w 608704"/>
                <a:gd name="connsiteY106" fmla="*/ 175520 h 565088"/>
                <a:gd name="connsiteX107" fmla="*/ 85617 w 608704"/>
                <a:gd name="connsiteY107" fmla="*/ 174357 h 565088"/>
                <a:gd name="connsiteX108" fmla="*/ 90323 w 608704"/>
                <a:gd name="connsiteY108" fmla="*/ 169379 h 565088"/>
                <a:gd name="connsiteX109" fmla="*/ 101464 w 608704"/>
                <a:gd name="connsiteY109" fmla="*/ 164593 h 565088"/>
                <a:gd name="connsiteX110" fmla="*/ 507200 w 608704"/>
                <a:gd name="connsiteY110" fmla="*/ 164524 h 565088"/>
                <a:gd name="connsiteX111" fmla="*/ 518327 w 608704"/>
                <a:gd name="connsiteY111" fmla="*/ 169311 h 565088"/>
                <a:gd name="connsiteX112" fmla="*/ 523035 w 608704"/>
                <a:gd name="connsiteY112" fmla="*/ 174289 h 565088"/>
                <a:gd name="connsiteX113" fmla="*/ 521870 w 608704"/>
                <a:gd name="connsiteY113" fmla="*/ 175453 h 565088"/>
                <a:gd name="connsiteX114" fmla="*/ 511895 w 608704"/>
                <a:gd name="connsiteY114" fmla="*/ 197788 h 565088"/>
                <a:gd name="connsiteX115" fmla="*/ 519539 w 608704"/>
                <a:gd name="connsiteY115" fmla="*/ 221100 h 565088"/>
                <a:gd name="connsiteX116" fmla="*/ 535387 w 608704"/>
                <a:gd name="connsiteY116" fmla="*/ 252183 h 565088"/>
                <a:gd name="connsiteX117" fmla="*/ 534221 w 608704"/>
                <a:gd name="connsiteY117" fmla="*/ 275542 h 565088"/>
                <a:gd name="connsiteX118" fmla="*/ 531565 w 608704"/>
                <a:gd name="connsiteY118" fmla="*/ 282615 h 565088"/>
                <a:gd name="connsiteX119" fmla="*/ 527090 w 608704"/>
                <a:gd name="connsiteY119" fmla="*/ 277078 h 565088"/>
                <a:gd name="connsiteX120" fmla="*/ 513946 w 608704"/>
                <a:gd name="connsiteY120" fmla="*/ 264002 h 565088"/>
                <a:gd name="connsiteX121" fmla="*/ 491154 w 608704"/>
                <a:gd name="connsiteY121" fmla="*/ 224590 h 565088"/>
                <a:gd name="connsiteX122" fmla="*/ 477032 w 608704"/>
                <a:gd name="connsiteY122" fmla="*/ 209653 h 565088"/>
                <a:gd name="connsiteX123" fmla="*/ 477311 w 608704"/>
                <a:gd name="connsiteY123" fmla="*/ 188109 h 565088"/>
                <a:gd name="connsiteX124" fmla="*/ 496002 w 608704"/>
                <a:gd name="connsiteY124" fmla="*/ 169124 h 565088"/>
                <a:gd name="connsiteX125" fmla="*/ 507200 w 608704"/>
                <a:gd name="connsiteY125" fmla="*/ 164524 h 565088"/>
                <a:gd name="connsiteX126" fmla="*/ 255331 w 608704"/>
                <a:gd name="connsiteY126" fmla="*/ 53303 h 565088"/>
                <a:gd name="connsiteX127" fmla="*/ 244789 w 608704"/>
                <a:gd name="connsiteY127" fmla="*/ 55176 h 565088"/>
                <a:gd name="connsiteX128" fmla="*/ 240503 w 608704"/>
                <a:gd name="connsiteY128" fmla="*/ 74437 h 565088"/>
                <a:gd name="connsiteX129" fmla="*/ 282110 w 608704"/>
                <a:gd name="connsiteY129" fmla="*/ 139662 h 565088"/>
                <a:gd name="connsiteX130" fmla="*/ 268132 w 608704"/>
                <a:gd name="connsiteY130" fmla="*/ 139662 h 565088"/>
                <a:gd name="connsiteX131" fmla="*/ 254154 w 608704"/>
                <a:gd name="connsiteY131" fmla="*/ 153619 h 565088"/>
                <a:gd name="connsiteX132" fmla="*/ 268132 w 608704"/>
                <a:gd name="connsiteY132" fmla="*/ 167576 h 565088"/>
                <a:gd name="connsiteX133" fmla="*/ 292174 w 608704"/>
                <a:gd name="connsiteY133" fmla="*/ 167576 h 565088"/>
                <a:gd name="connsiteX134" fmla="*/ 292174 w 608704"/>
                <a:gd name="connsiteY134" fmla="*/ 177346 h 565088"/>
                <a:gd name="connsiteX135" fmla="*/ 268132 w 608704"/>
                <a:gd name="connsiteY135" fmla="*/ 177346 h 565088"/>
                <a:gd name="connsiteX136" fmla="*/ 254154 w 608704"/>
                <a:gd name="connsiteY136" fmla="*/ 191302 h 565088"/>
                <a:gd name="connsiteX137" fmla="*/ 268132 w 608704"/>
                <a:gd name="connsiteY137" fmla="*/ 205259 h 565088"/>
                <a:gd name="connsiteX138" fmla="*/ 292174 w 608704"/>
                <a:gd name="connsiteY138" fmla="*/ 205259 h 565088"/>
                <a:gd name="connsiteX139" fmla="*/ 292174 w 608704"/>
                <a:gd name="connsiteY139" fmla="*/ 224706 h 565088"/>
                <a:gd name="connsiteX140" fmla="*/ 306151 w 608704"/>
                <a:gd name="connsiteY140" fmla="*/ 238663 h 565088"/>
                <a:gd name="connsiteX141" fmla="*/ 320129 w 608704"/>
                <a:gd name="connsiteY141" fmla="*/ 224706 h 565088"/>
                <a:gd name="connsiteX142" fmla="*/ 320129 w 608704"/>
                <a:gd name="connsiteY142" fmla="*/ 205259 h 565088"/>
                <a:gd name="connsiteX143" fmla="*/ 344171 w 608704"/>
                <a:gd name="connsiteY143" fmla="*/ 205259 h 565088"/>
                <a:gd name="connsiteX144" fmla="*/ 358149 w 608704"/>
                <a:gd name="connsiteY144" fmla="*/ 191302 h 565088"/>
                <a:gd name="connsiteX145" fmla="*/ 344171 w 608704"/>
                <a:gd name="connsiteY145" fmla="*/ 177346 h 565088"/>
                <a:gd name="connsiteX146" fmla="*/ 320129 w 608704"/>
                <a:gd name="connsiteY146" fmla="*/ 177346 h 565088"/>
                <a:gd name="connsiteX147" fmla="*/ 320129 w 608704"/>
                <a:gd name="connsiteY147" fmla="*/ 167576 h 565088"/>
                <a:gd name="connsiteX148" fmla="*/ 344264 w 608704"/>
                <a:gd name="connsiteY148" fmla="*/ 167576 h 565088"/>
                <a:gd name="connsiteX149" fmla="*/ 358242 w 608704"/>
                <a:gd name="connsiteY149" fmla="*/ 153619 h 565088"/>
                <a:gd name="connsiteX150" fmla="*/ 344264 w 608704"/>
                <a:gd name="connsiteY150" fmla="*/ 139662 h 565088"/>
                <a:gd name="connsiteX151" fmla="*/ 330286 w 608704"/>
                <a:gd name="connsiteY151" fmla="*/ 139662 h 565088"/>
                <a:gd name="connsiteX152" fmla="*/ 371893 w 608704"/>
                <a:gd name="connsiteY152" fmla="*/ 74437 h 565088"/>
                <a:gd name="connsiteX153" fmla="*/ 367793 w 608704"/>
                <a:gd name="connsiteY153" fmla="*/ 55176 h 565088"/>
                <a:gd name="connsiteX154" fmla="*/ 348457 w 608704"/>
                <a:gd name="connsiteY154" fmla="*/ 59456 h 565088"/>
                <a:gd name="connsiteX155" fmla="*/ 306291 w 608704"/>
                <a:gd name="connsiteY155" fmla="*/ 125426 h 565088"/>
                <a:gd name="connsiteX156" fmla="*/ 264125 w 608704"/>
                <a:gd name="connsiteY156" fmla="*/ 59456 h 565088"/>
                <a:gd name="connsiteX157" fmla="*/ 255331 w 608704"/>
                <a:gd name="connsiteY157" fmla="*/ 53303 h 565088"/>
                <a:gd name="connsiteX158" fmla="*/ 304940 w 608704"/>
                <a:gd name="connsiteY158" fmla="*/ 0 h 565088"/>
                <a:gd name="connsiteX159" fmla="*/ 447000 w 608704"/>
                <a:gd name="connsiteY159" fmla="*/ 141895 h 565088"/>
                <a:gd name="connsiteX160" fmla="*/ 304940 w 608704"/>
                <a:gd name="connsiteY160" fmla="*/ 283744 h 565088"/>
                <a:gd name="connsiteX161" fmla="*/ 162833 w 608704"/>
                <a:gd name="connsiteY161" fmla="*/ 141895 h 565088"/>
                <a:gd name="connsiteX162" fmla="*/ 304940 w 608704"/>
                <a:gd name="connsiteY162" fmla="*/ 0 h 56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608704" h="565088">
                  <a:moveTo>
                    <a:pt x="331621" y="496781"/>
                  </a:moveTo>
                  <a:lnTo>
                    <a:pt x="441006" y="496781"/>
                  </a:lnTo>
                  <a:cubicBezTo>
                    <a:pt x="442917" y="496781"/>
                    <a:pt x="444781" y="497060"/>
                    <a:pt x="446506" y="497758"/>
                  </a:cubicBezTo>
                  <a:cubicBezTo>
                    <a:pt x="449815" y="499015"/>
                    <a:pt x="452565" y="501341"/>
                    <a:pt x="454289" y="504273"/>
                  </a:cubicBezTo>
                  <a:cubicBezTo>
                    <a:pt x="455734" y="506646"/>
                    <a:pt x="456526" y="509345"/>
                    <a:pt x="456526" y="512276"/>
                  </a:cubicBezTo>
                  <a:lnTo>
                    <a:pt x="456526" y="517999"/>
                  </a:lnTo>
                  <a:lnTo>
                    <a:pt x="456526" y="549547"/>
                  </a:lnTo>
                  <a:cubicBezTo>
                    <a:pt x="456526" y="558109"/>
                    <a:pt x="449582" y="565088"/>
                    <a:pt x="441006" y="565088"/>
                  </a:cubicBezTo>
                  <a:lnTo>
                    <a:pt x="331621" y="565088"/>
                  </a:lnTo>
                  <a:cubicBezTo>
                    <a:pt x="323046" y="565088"/>
                    <a:pt x="316101" y="558109"/>
                    <a:pt x="316101" y="549547"/>
                  </a:cubicBezTo>
                  <a:lnTo>
                    <a:pt x="316101" y="517627"/>
                  </a:lnTo>
                  <a:lnTo>
                    <a:pt x="316101" y="512276"/>
                  </a:lnTo>
                  <a:cubicBezTo>
                    <a:pt x="316101" y="509251"/>
                    <a:pt x="316940" y="506367"/>
                    <a:pt x="318525" y="503947"/>
                  </a:cubicBezTo>
                  <a:cubicBezTo>
                    <a:pt x="320389" y="501109"/>
                    <a:pt x="323092" y="498875"/>
                    <a:pt x="326401" y="497712"/>
                  </a:cubicBezTo>
                  <a:cubicBezTo>
                    <a:pt x="328032" y="497060"/>
                    <a:pt x="329757" y="496781"/>
                    <a:pt x="331621" y="496781"/>
                  </a:cubicBezTo>
                  <a:close/>
                  <a:moveTo>
                    <a:pt x="166349" y="496640"/>
                  </a:moveTo>
                  <a:lnTo>
                    <a:pt x="275680" y="496640"/>
                  </a:lnTo>
                  <a:cubicBezTo>
                    <a:pt x="277963" y="496640"/>
                    <a:pt x="280152" y="497152"/>
                    <a:pt x="282109" y="498083"/>
                  </a:cubicBezTo>
                  <a:cubicBezTo>
                    <a:pt x="285276" y="499572"/>
                    <a:pt x="287978" y="502038"/>
                    <a:pt x="289515" y="505202"/>
                  </a:cubicBezTo>
                  <a:cubicBezTo>
                    <a:pt x="290587" y="507249"/>
                    <a:pt x="291192" y="509669"/>
                    <a:pt x="291192" y="512181"/>
                  </a:cubicBezTo>
                  <a:lnTo>
                    <a:pt x="291192" y="518928"/>
                  </a:lnTo>
                  <a:lnTo>
                    <a:pt x="291192" y="549453"/>
                  </a:lnTo>
                  <a:cubicBezTo>
                    <a:pt x="291192" y="558014"/>
                    <a:pt x="284251" y="564947"/>
                    <a:pt x="275680" y="564947"/>
                  </a:cubicBezTo>
                  <a:lnTo>
                    <a:pt x="166349" y="564947"/>
                  </a:lnTo>
                  <a:cubicBezTo>
                    <a:pt x="157732" y="564947"/>
                    <a:pt x="150837" y="558014"/>
                    <a:pt x="150884" y="549406"/>
                  </a:cubicBezTo>
                  <a:lnTo>
                    <a:pt x="150884" y="516276"/>
                  </a:lnTo>
                  <a:lnTo>
                    <a:pt x="150884" y="512181"/>
                  </a:lnTo>
                  <a:cubicBezTo>
                    <a:pt x="150884" y="508692"/>
                    <a:pt x="152002" y="505528"/>
                    <a:pt x="153912" y="502922"/>
                  </a:cubicBezTo>
                  <a:cubicBezTo>
                    <a:pt x="155915" y="500270"/>
                    <a:pt x="158756" y="498222"/>
                    <a:pt x="162064" y="497292"/>
                  </a:cubicBezTo>
                  <a:cubicBezTo>
                    <a:pt x="163415" y="496826"/>
                    <a:pt x="164859" y="496640"/>
                    <a:pt x="166349" y="496640"/>
                  </a:cubicBezTo>
                  <a:close/>
                  <a:moveTo>
                    <a:pt x="560321" y="169851"/>
                  </a:moveTo>
                  <a:cubicBezTo>
                    <a:pt x="564653" y="169851"/>
                    <a:pt x="569033" y="171618"/>
                    <a:pt x="572108" y="175247"/>
                  </a:cubicBezTo>
                  <a:cubicBezTo>
                    <a:pt x="650934" y="266843"/>
                    <a:pt x="577884" y="346298"/>
                    <a:pt x="577884" y="346298"/>
                  </a:cubicBezTo>
                  <a:lnTo>
                    <a:pt x="535489" y="388677"/>
                  </a:lnTo>
                  <a:cubicBezTo>
                    <a:pt x="522258" y="401795"/>
                    <a:pt x="508003" y="413890"/>
                    <a:pt x="492862" y="424822"/>
                  </a:cubicBezTo>
                  <a:lnTo>
                    <a:pt x="455964" y="451292"/>
                  </a:lnTo>
                  <a:cubicBezTo>
                    <a:pt x="450373" y="455385"/>
                    <a:pt x="446972" y="461898"/>
                    <a:pt x="446972" y="468876"/>
                  </a:cubicBezTo>
                  <a:lnTo>
                    <a:pt x="446879" y="478645"/>
                  </a:lnTo>
                  <a:cubicBezTo>
                    <a:pt x="445016" y="478366"/>
                    <a:pt x="443059" y="478180"/>
                    <a:pt x="441056" y="478180"/>
                  </a:cubicBezTo>
                  <a:lnTo>
                    <a:pt x="331714" y="478180"/>
                  </a:lnTo>
                  <a:cubicBezTo>
                    <a:pt x="329851" y="478180"/>
                    <a:pt x="328080" y="478273"/>
                    <a:pt x="326263" y="478598"/>
                  </a:cubicBezTo>
                  <a:lnTo>
                    <a:pt x="326263" y="409517"/>
                  </a:lnTo>
                  <a:cubicBezTo>
                    <a:pt x="326263" y="407703"/>
                    <a:pt x="326589" y="405982"/>
                    <a:pt x="327148" y="404307"/>
                  </a:cubicBezTo>
                  <a:cubicBezTo>
                    <a:pt x="350489" y="337599"/>
                    <a:pt x="417063" y="317316"/>
                    <a:pt x="434301" y="313130"/>
                  </a:cubicBezTo>
                  <a:cubicBezTo>
                    <a:pt x="437003" y="312432"/>
                    <a:pt x="439565" y="310990"/>
                    <a:pt x="441568" y="309036"/>
                  </a:cubicBezTo>
                  <a:lnTo>
                    <a:pt x="476136" y="274472"/>
                  </a:lnTo>
                  <a:cubicBezTo>
                    <a:pt x="479211" y="271449"/>
                    <a:pt x="483171" y="269960"/>
                    <a:pt x="487131" y="269960"/>
                  </a:cubicBezTo>
                  <a:cubicBezTo>
                    <a:pt x="491138" y="269960"/>
                    <a:pt x="495098" y="271449"/>
                    <a:pt x="498126" y="274472"/>
                  </a:cubicBezTo>
                  <a:lnTo>
                    <a:pt x="510612" y="286986"/>
                  </a:lnTo>
                  <a:lnTo>
                    <a:pt x="513873" y="290242"/>
                  </a:lnTo>
                  <a:cubicBezTo>
                    <a:pt x="519929" y="296290"/>
                    <a:pt x="519929" y="306105"/>
                    <a:pt x="513873" y="312199"/>
                  </a:cubicBezTo>
                  <a:lnTo>
                    <a:pt x="445948" y="379978"/>
                  </a:lnTo>
                  <a:cubicBezTo>
                    <a:pt x="443525" y="382397"/>
                    <a:pt x="443525" y="386304"/>
                    <a:pt x="445948" y="388723"/>
                  </a:cubicBezTo>
                  <a:lnTo>
                    <a:pt x="447159" y="389886"/>
                  </a:lnTo>
                  <a:cubicBezTo>
                    <a:pt x="448370" y="391096"/>
                    <a:pt x="449954" y="391700"/>
                    <a:pt x="451538" y="391700"/>
                  </a:cubicBezTo>
                  <a:cubicBezTo>
                    <a:pt x="453169" y="391700"/>
                    <a:pt x="454706" y="391142"/>
                    <a:pt x="455964" y="389886"/>
                  </a:cubicBezTo>
                  <a:lnTo>
                    <a:pt x="533626" y="312292"/>
                  </a:lnTo>
                  <a:cubicBezTo>
                    <a:pt x="533626" y="312292"/>
                    <a:pt x="581379" y="266983"/>
                    <a:pt x="533999" y="209345"/>
                  </a:cubicBezTo>
                  <a:cubicBezTo>
                    <a:pt x="528874" y="203205"/>
                    <a:pt x="529386" y="194273"/>
                    <a:pt x="535024" y="188644"/>
                  </a:cubicBezTo>
                  <a:lnTo>
                    <a:pt x="535909" y="187761"/>
                  </a:lnTo>
                  <a:lnTo>
                    <a:pt x="549326" y="174363"/>
                  </a:lnTo>
                  <a:cubicBezTo>
                    <a:pt x="552354" y="171339"/>
                    <a:pt x="556361" y="169851"/>
                    <a:pt x="560321" y="169851"/>
                  </a:cubicBezTo>
                  <a:close/>
                  <a:moveTo>
                    <a:pt x="48337" y="169851"/>
                  </a:moveTo>
                  <a:cubicBezTo>
                    <a:pt x="52297" y="169851"/>
                    <a:pt x="56257" y="171340"/>
                    <a:pt x="59331" y="174364"/>
                  </a:cubicBezTo>
                  <a:lnTo>
                    <a:pt x="72749" y="187763"/>
                  </a:lnTo>
                  <a:lnTo>
                    <a:pt x="73587" y="188647"/>
                  </a:lnTo>
                  <a:cubicBezTo>
                    <a:pt x="79178" y="194231"/>
                    <a:pt x="79690" y="203210"/>
                    <a:pt x="74659" y="209352"/>
                  </a:cubicBezTo>
                  <a:cubicBezTo>
                    <a:pt x="27279" y="266998"/>
                    <a:pt x="75031" y="312361"/>
                    <a:pt x="75031" y="312361"/>
                  </a:cubicBezTo>
                  <a:lnTo>
                    <a:pt x="152601" y="389874"/>
                  </a:lnTo>
                  <a:cubicBezTo>
                    <a:pt x="153859" y="391084"/>
                    <a:pt x="155396" y="391688"/>
                    <a:pt x="157027" y="391688"/>
                  </a:cubicBezTo>
                  <a:cubicBezTo>
                    <a:pt x="158657" y="391688"/>
                    <a:pt x="160195" y="391130"/>
                    <a:pt x="161452" y="389874"/>
                  </a:cubicBezTo>
                  <a:lnTo>
                    <a:pt x="162617" y="388711"/>
                  </a:lnTo>
                  <a:cubicBezTo>
                    <a:pt x="165040" y="386291"/>
                    <a:pt x="165040" y="382383"/>
                    <a:pt x="162617" y="379964"/>
                  </a:cubicBezTo>
                  <a:lnTo>
                    <a:pt x="94738" y="312175"/>
                  </a:lnTo>
                  <a:cubicBezTo>
                    <a:pt x="88635" y="306080"/>
                    <a:pt x="88635" y="296263"/>
                    <a:pt x="94738" y="290214"/>
                  </a:cubicBezTo>
                  <a:lnTo>
                    <a:pt x="97953" y="286958"/>
                  </a:lnTo>
                  <a:lnTo>
                    <a:pt x="110485" y="274442"/>
                  </a:lnTo>
                  <a:cubicBezTo>
                    <a:pt x="113560" y="271418"/>
                    <a:pt x="117520" y="269929"/>
                    <a:pt x="121480" y="269929"/>
                  </a:cubicBezTo>
                  <a:cubicBezTo>
                    <a:pt x="125486" y="269929"/>
                    <a:pt x="129446" y="271418"/>
                    <a:pt x="132474" y="274442"/>
                  </a:cubicBezTo>
                  <a:lnTo>
                    <a:pt x="167136" y="309011"/>
                  </a:lnTo>
                  <a:cubicBezTo>
                    <a:pt x="169139" y="310965"/>
                    <a:pt x="171702" y="312408"/>
                    <a:pt x="174404" y="313105"/>
                  </a:cubicBezTo>
                  <a:cubicBezTo>
                    <a:pt x="191641" y="317293"/>
                    <a:pt x="258216" y="337578"/>
                    <a:pt x="281556" y="404297"/>
                  </a:cubicBezTo>
                  <a:cubicBezTo>
                    <a:pt x="282115" y="405972"/>
                    <a:pt x="282441" y="407740"/>
                    <a:pt x="282441" y="409508"/>
                  </a:cubicBezTo>
                  <a:lnTo>
                    <a:pt x="282441" y="478786"/>
                  </a:lnTo>
                  <a:cubicBezTo>
                    <a:pt x="280252" y="478367"/>
                    <a:pt x="277969" y="478088"/>
                    <a:pt x="275686" y="478088"/>
                  </a:cubicBezTo>
                  <a:lnTo>
                    <a:pt x="166344" y="478088"/>
                  </a:lnTo>
                  <a:cubicBezTo>
                    <a:pt x="164807" y="478088"/>
                    <a:pt x="163316" y="478227"/>
                    <a:pt x="161825" y="478414"/>
                  </a:cubicBezTo>
                  <a:lnTo>
                    <a:pt x="161732" y="468783"/>
                  </a:lnTo>
                  <a:cubicBezTo>
                    <a:pt x="161732" y="461850"/>
                    <a:pt x="158378" y="455290"/>
                    <a:pt x="152741" y="451242"/>
                  </a:cubicBezTo>
                  <a:lnTo>
                    <a:pt x="115842" y="424769"/>
                  </a:lnTo>
                  <a:cubicBezTo>
                    <a:pt x="100701" y="413881"/>
                    <a:pt x="86399" y="401785"/>
                    <a:pt x="73215" y="388711"/>
                  </a:cubicBezTo>
                  <a:lnTo>
                    <a:pt x="30820" y="346325"/>
                  </a:lnTo>
                  <a:cubicBezTo>
                    <a:pt x="30820" y="346325"/>
                    <a:pt x="-42230" y="266858"/>
                    <a:pt x="36596" y="175248"/>
                  </a:cubicBezTo>
                  <a:cubicBezTo>
                    <a:pt x="39625" y="171665"/>
                    <a:pt x="43957" y="169851"/>
                    <a:pt x="48337" y="169851"/>
                  </a:cubicBezTo>
                  <a:close/>
                  <a:moveTo>
                    <a:pt x="101464" y="164593"/>
                  </a:moveTo>
                  <a:cubicBezTo>
                    <a:pt x="105512" y="164564"/>
                    <a:pt x="109566" y="166100"/>
                    <a:pt x="112641" y="169193"/>
                  </a:cubicBezTo>
                  <a:lnTo>
                    <a:pt x="131324" y="188128"/>
                  </a:lnTo>
                  <a:cubicBezTo>
                    <a:pt x="137148" y="194082"/>
                    <a:pt x="137288" y="203573"/>
                    <a:pt x="131557" y="209667"/>
                  </a:cubicBezTo>
                  <a:lnTo>
                    <a:pt x="117486" y="224601"/>
                  </a:lnTo>
                  <a:cubicBezTo>
                    <a:pt x="102483" y="238790"/>
                    <a:pt x="96100" y="252142"/>
                    <a:pt x="94656" y="264005"/>
                  </a:cubicBezTo>
                  <a:lnTo>
                    <a:pt x="81564" y="277078"/>
                  </a:lnTo>
                  <a:cubicBezTo>
                    <a:pt x="79886" y="278799"/>
                    <a:pt x="78395" y="280613"/>
                    <a:pt x="77091" y="282614"/>
                  </a:cubicBezTo>
                  <a:cubicBezTo>
                    <a:pt x="76112" y="280427"/>
                    <a:pt x="75181" y="278055"/>
                    <a:pt x="74435" y="275542"/>
                  </a:cubicBezTo>
                  <a:cubicBezTo>
                    <a:pt x="72105" y="267820"/>
                    <a:pt x="71733" y="259958"/>
                    <a:pt x="73224" y="252188"/>
                  </a:cubicBezTo>
                  <a:cubicBezTo>
                    <a:pt x="75227" y="242047"/>
                    <a:pt x="80492" y="231533"/>
                    <a:pt x="89158" y="221205"/>
                  </a:cubicBezTo>
                  <a:cubicBezTo>
                    <a:pt x="94470" y="214692"/>
                    <a:pt x="97219" y="206364"/>
                    <a:pt x="96799" y="197851"/>
                  </a:cubicBezTo>
                  <a:cubicBezTo>
                    <a:pt x="96287" y="189430"/>
                    <a:pt x="92746" y="181475"/>
                    <a:pt x="86782" y="175520"/>
                  </a:cubicBezTo>
                  <a:lnTo>
                    <a:pt x="85617" y="174357"/>
                  </a:lnTo>
                  <a:lnTo>
                    <a:pt x="90323" y="169379"/>
                  </a:lnTo>
                  <a:cubicBezTo>
                    <a:pt x="93375" y="166216"/>
                    <a:pt x="97417" y="164622"/>
                    <a:pt x="101464" y="164593"/>
                  </a:cubicBezTo>
                  <a:close/>
                  <a:moveTo>
                    <a:pt x="507200" y="164524"/>
                  </a:moveTo>
                  <a:cubicBezTo>
                    <a:pt x="511255" y="164553"/>
                    <a:pt x="515298" y="166147"/>
                    <a:pt x="518327" y="169311"/>
                  </a:cubicBezTo>
                  <a:lnTo>
                    <a:pt x="523035" y="174289"/>
                  </a:lnTo>
                  <a:lnTo>
                    <a:pt x="521870" y="175453"/>
                  </a:lnTo>
                  <a:cubicBezTo>
                    <a:pt x="515904" y="181409"/>
                    <a:pt x="512361" y="189366"/>
                    <a:pt x="511895" y="197788"/>
                  </a:cubicBezTo>
                  <a:cubicBezTo>
                    <a:pt x="511429" y="206210"/>
                    <a:pt x="514133" y="214539"/>
                    <a:pt x="519539" y="221100"/>
                  </a:cubicBezTo>
                  <a:cubicBezTo>
                    <a:pt x="528069" y="231523"/>
                    <a:pt x="533429" y="241946"/>
                    <a:pt x="535387" y="252183"/>
                  </a:cubicBezTo>
                  <a:cubicBezTo>
                    <a:pt x="536971" y="259954"/>
                    <a:pt x="536505" y="267818"/>
                    <a:pt x="534221" y="275542"/>
                  </a:cubicBezTo>
                  <a:cubicBezTo>
                    <a:pt x="533476" y="278055"/>
                    <a:pt x="532543" y="280428"/>
                    <a:pt x="531565" y="282615"/>
                  </a:cubicBezTo>
                  <a:cubicBezTo>
                    <a:pt x="530306" y="280614"/>
                    <a:pt x="528815" y="278799"/>
                    <a:pt x="527090" y="277078"/>
                  </a:cubicBezTo>
                  <a:lnTo>
                    <a:pt x="513946" y="264002"/>
                  </a:lnTo>
                  <a:cubicBezTo>
                    <a:pt x="512548" y="252137"/>
                    <a:pt x="506069" y="238782"/>
                    <a:pt x="491154" y="224590"/>
                  </a:cubicBezTo>
                  <a:lnTo>
                    <a:pt x="477032" y="209653"/>
                  </a:lnTo>
                  <a:cubicBezTo>
                    <a:pt x="471345" y="203558"/>
                    <a:pt x="471438" y="194065"/>
                    <a:pt x="477311" y="188109"/>
                  </a:cubicBezTo>
                  <a:lnTo>
                    <a:pt x="496002" y="169124"/>
                  </a:lnTo>
                  <a:cubicBezTo>
                    <a:pt x="499078" y="166030"/>
                    <a:pt x="503145" y="164495"/>
                    <a:pt x="507200" y="164524"/>
                  </a:cubicBezTo>
                  <a:close/>
                  <a:moveTo>
                    <a:pt x="255331" y="53303"/>
                  </a:moveTo>
                  <a:cubicBezTo>
                    <a:pt x="251836" y="52524"/>
                    <a:pt x="248051" y="53083"/>
                    <a:pt x="244789" y="55176"/>
                  </a:cubicBezTo>
                  <a:cubicBezTo>
                    <a:pt x="238266" y="59317"/>
                    <a:pt x="236356" y="67923"/>
                    <a:pt x="240503" y="74437"/>
                  </a:cubicBezTo>
                  <a:lnTo>
                    <a:pt x="282110" y="139662"/>
                  </a:lnTo>
                  <a:lnTo>
                    <a:pt x="268132" y="139662"/>
                  </a:lnTo>
                  <a:cubicBezTo>
                    <a:pt x="260444" y="139662"/>
                    <a:pt x="254154" y="145896"/>
                    <a:pt x="254154" y="153619"/>
                  </a:cubicBezTo>
                  <a:cubicBezTo>
                    <a:pt x="254154" y="161295"/>
                    <a:pt x="260444" y="167576"/>
                    <a:pt x="268132" y="167576"/>
                  </a:cubicBezTo>
                  <a:lnTo>
                    <a:pt x="292174" y="167576"/>
                  </a:lnTo>
                  <a:lnTo>
                    <a:pt x="292174" y="177346"/>
                  </a:lnTo>
                  <a:lnTo>
                    <a:pt x="268132" y="177346"/>
                  </a:lnTo>
                  <a:cubicBezTo>
                    <a:pt x="260444" y="177346"/>
                    <a:pt x="254154" y="183626"/>
                    <a:pt x="254154" y="191302"/>
                  </a:cubicBezTo>
                  <a:cubicBezTo>
                    <a:pt x="254154" y="199025"/>
                    <a:pt x="260444" y="205259"/>
                    <a:pt x="268132" y="205259"/>
                  </a:cubicBezTo>
                  <a:lnTo>
                    <a:pt x="292174" y="205259"/>
                  </a:lnTo>
                  <a:lnTo>
                    <a:pt x="292174" y="224706"/>
                  </a:lnTo>
                  <a:cubicBezTo>
                    <a:pt x="292174" y="232382"/>
                    <a:pt x="298464" y="238663"/>
                    <a:pt x="306151" y="238663"/>
                  </a:cubicBezTo>
                  <a:cubicBezTo>
                    <a:pt x="313886" y="238663"/>
                    <a:pt x="320129" y="232382"/>
                    <a:pt x="320129" y="224706"/>
                  </a:cubicBezTo>
                  <a:lnTo>
                    <a:pt x="320129" y="205259"/>
                  </a:lnTo>
                  <a:lnTo>
                    <a:pt x="344171" y="205259"/>
                  </a:lnTo>
                  <a:cubicBezTo>
                    <a:pt x="351905" y="205259"/>
                    <a:pt x="358149" y="199025"/>
                    <a:pt x="358149" y="191302"/>
                  </a:cubicBezTo>
                  <a:cubicBezTo>
                    <a:pt x="358149" y="183626"/>
                    <a:pt x="351905" y="177346"/>
                    <a:pt x="344171" y="177346"/>
                  </a:cubicBezTo>
                  <a:lnTo>
                    <a:pt x="320129" y="177346"/>
                  </a:lnTo>
                  <a:lnTo>
                    <a:pt x="320129" y="167576"/>
                  </a:lnTo>
                  <a:lnTo>
                    <a:pt x="344264" y="167576"/>
                  </a:lnTo>
                  <a:cubicBezTo>
                    <a:pt x="351952" y="167576"/>
                    <a:pt x="358242" y="161295"/>
                    <a:pt x="358242" y="153619"/>
                  </a:cubicBezTo>
                  <a:cubicBezTo>
                    <a:pt x="358242" y="145896"/>
                    <a:pt x="351952" y="139662"/>
                    <a:pt x="344264" y="139662"/>
                  </a:cubicBezTo>
                  <a:lnTo>
                    <a:pt x="330286" y="139662"/>
                  </a:lnTo>
                  <a:lnTo>
                    <a:pt x="371893" y="74437"/>
                  </a:lnTo>
                  <a:cubicBezTo>
                    <a:pt x="376040" y="67923"/>
                    <a:pt x="374130" y="59317"/>
                    <a:pt x="367793" y="55176"/>
                  </a:cubicBezTo>
                  <a:cubicBezTo>
                    <a:pt x="361270" y="50989"/>
                    <a:pt x="352651" y="52943"/>
                    <a:pt x="348457" y="59456"/>
                  </a:cubicBezTo>
                  <a:lnTo>
                    <a:pt x="306291" y="125426"/>
                  </a:lnTo>
                  <a:lnTo>
                    <a:pt x="264125" y="59456"/>
                  </a:lnTo>
                  <a:cubicBezTo>
                    <a:pt x="262029" y="56200"/>
                    <a:pt x="258825" y="54083"/>
                    <a:pt x="255331" y="53303"/>
                  </a:cubicBezTo>
                  <a:close/>
                  <a:moveTo>
                    <a:pt x="304940" y="0"/>
                  </a:moveTo>
                  <a:cubicBezTo>
                    <a:pt x="383402" y="0"/>
                    <a:pt x="447000" y="63550"/>
                    <a:pt x="447000" y="141895"/>
                  </a:cubicBezTo>
                  <a:cubicBezTo>
                    <a:pt x="447000" y="220240"/>
                    <a:pt x="383402" y="283744"/>
                    <a:pt x="304940" y="283744"/>
                  </a:cubicBezTo>
                  <a:cubicBezTo>
                    <a:pt x="226478" y="283744"/>
                    <a:pt x="162833" y="220240"/>
                    <a:pt x="162833" y="141895"/>
                  </a:cubicBezTo>
                  <a:cubicBezTo>
                    <a:pt x="162833" y="63550"/>
                    <a:pt x="226478" y="0"/>
                    <a:pt x="30494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7" name="îśḷíḋé">
              <a:extLst>
                <a:ext uri="{FF2B5EF4-FFF2-40B4-BE49-F238E27FC236}">
                  <a16:creationId xmlns:a16="http://schemas.microsoft.com/office/drawing/2014/main" id="{EC19AB8C-F1A7-4E90-954D-BB9408992358}"/>
                </a:ext>
              </a:extLst>
            </p:cNvPr>
            <p:cNvGrpSpPr/>
            <p:nvPr/>
          </p:nvGrpSpPr>
          <p:grpSpPr>
            <a:xfrm>
              <a:off x="3654772" y="3324239"/>
              <a:ext cx="2203845" cy="1304841"/>
              <a:chOff x="672705" y="4762585"/>
              <a:chExt cx="2394346" cy="1384215"/>
            </a:xfrm>
          </p:grpSpPr>
          <p:sp>
            <p:nvSpPr>
              <p:cNvPr id="28" name="ïŝlíḑ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2705" y="4762585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Face recognition</a:t>
                </a:r>
              </a:p>
            </p:txBody>
          </p:sp>
          <p:sp>
            <p:nvSpPr>
              <p:cNvPr id="29" name="ïṣ1ïḓ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2705" y="5217765"/>
                <a:ext cx="2394346" cy="92903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500" dirty="0"/>
                  <a:t>(99.38%)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500" dirty="0"/>
                  <a:t>(</a:t>
                </a:r>
                <a:r>
                  <a:rPr lang="en-US" altLang="zh-CN" sz="1500" dirty="0" err="1"/>
                  <a:t>dlib</a:t>
                </a:r>
                <a:r>
                  <a:rPr lang="en-US" altLang="zh-CN" sz="1500" dirty="0"/>
                  <a:t> inside)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</p:txBody>
          </p:sp>
        </p:grpSp>
        <p:sp>
          <p:nvSpPr>
            <p:cNvPr id="8" name="ïSľîďè">
              <a:extLst>
                <a:ext uri="{FF2B5EF4-FFF2-40B4-BE49-F238E27FC236}">
                  <a16:creationId xmlns:a16="http://schemas.microsoft.com/office/drawing/2014/main" id="{490AFCD5-9CF9-478D-B619-714B3BD11B60}"/>
                </a:ext>
              </a:extLst>
            </p:cNvPr>
            <p:cNvSpPr/>
            <p:nvPr/>
          </p:nvSpPr>
          <p:spPr bwMode="auto">
            <a:xfrm>
              <a:off x="7185401" y="2705103"/>
              <a:ext cx="499807" cy="437504"/>
            </a:xfrm>
            <a:custGeom>
              <a:avLst/>
              <a:gdLst>
                <a:gd name="T0" fmla="*/ 215 w 406"/>
                <a:gd name="T1" fmla="*/ 162 h 356"/>
                <a:gd name="T2" fmla="*/ 157 w 406"/>
                <a:gd name="T3" fmla="*/ 102 h 356"/>
                <a:gd name="T4" fmla="*/ 19 w 406"/>
                <a:gd name="T5" fmla="*/ 242 h 356"/>
                <a:gd name="T6" fmla="*/ 0 w 406"/>
                <a:gd name="T7" fmla="*/ 224 h 356"/>
                <a:gd name="T8" fmla="*/ 157 w 406"/>
                <a:gd name="T9" fmla="*/ 64 h 356"/>
                <a:gd name="T10" fmla="*/ 216 w 406"/>
                <a:gd name="T11" fmla="*/ 124 h 356"/>
                <a:gd name="T12" fmla="*/ 315 w 406"/>
                <a:gd name="T13" fmla="*/ 28 h 356"/>
                <a:gd name="T14" fmla="*/ 287 w 406"/>
                <a:gd name="T15" fmla="*/ 0 h 356"/>
                <a:gd name="T16" fmla="*/ 362 w 406"/>
                <a:gd name="T17" fmla="*/ 0 h 356"/>
                <a:gd name="T18" fmla="*/ 362 w 406"/>
                <a:gd name="T19" fmla="*/ 74 h 356"/>
                <a:gd name="T20" fmla="*/ 334 w 406"/>
                <a:gd name="T21" fmla="*/ 47 h 356"/>
                <a:gd name="T22" fmla="*/ 215 w 406"/>
                <a:gd name="T23" fmla="*/ 162 h 356"/>
                <a:gd name="T24" fmla="*/ 66 w 406"/>
                <a:gd name="T25" fmla="*/ 356 h 356"/>
                <a:gd name="T26" fmla="*/ 156 w 406"/>
                <a:gd name="T27" fmla="*/ 356 h 356"/>
                <a:gd name="T28" fmla="*/ 156 w 406"/>
                <a:gd name="T29" fmla="*/ 230 h 356"/>
                <a:gd name="T30" fmla="*/ 66 w 406"/>
                <a:gd name="T31" fmla="*/ 230 h 356"/>
                <a:gd name="T32" fmla="*/ 66 w 406"/>
                <a:gd name="T33" fmla="*/ 356 h 356"/>
                <a:gd name="T34" fmla="*/ 191 w 406"/>
                <a:gd name="T35" fmla="*/ 356 h 356"/>
                <a:gd name="T36" fmla="*/ 281 w 406"/>
                <a:gd name="T37" fmla="*/ 356 h 356"/>
                <a:gd name="T38" fmla="*/ 281 w 406"/>
                <a:gd name="T39" fmla="*/ 190 h 356"/>
                <a:gd name="T40" fmla="*/ 191 w 406"/>
                <a:gd name="T41" fmla="*/ 190 h 356"/>
                <a:gd name="T42" fmla="*/ 191 w 406"/>
                <a:gd name="T43" fmla="*/ 356 h 356"/>
                <a:gd name="T44" fmla="*/ 316 w 406"/>
                <a:gd name="T45" fmla="*/ 106 h 356"/>
                <a:gd name="T46" fmla="*/ 316 w 406"/>
                <a:gd name="T47" fmla="*/ 356 h 356"/>
                <a:gd name="T48" fmla="*/ 406 w 406"/>
                <a:gd name="T49" fmla="*/ 356 h 356"/>
                <a:gd name="T50" fmla="*/ 406 w 406"/>
                <a:gd name="T51" fmla="*/ 106 h 356"/>
                <a:gd name="T52" fmla="*/ 316 w 406"/>
                <a:gd name="T53" fmla="*/ 10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6" h="356">
                  <a:moveTo>
                    <a:pt x="215" y="162"/>
                  </a:moveTo>
                  <a:lnTo>
                    <a:pt x="157" y="102"/>
                  </a:lnTo>
                  <a:lnTo>
                    <a:pt x="19" y="242"/>
                  </a:lnTo>
                  <a:lnTo>
                    <a:pt x="0" y="224"/>
                  </a:lnTo>
                  <a:lnTo>
                    <a:pt x="157" y="64"/>
                  </a:lnTo>
                  <a:lnTo>
                    <a:pt x="216" y="124"/>
                  </a:lnTo>
                  <a:lnTo>
                    <a:pt x="315" y="28"/>
                  </a:lnTo>
                  <a:lnTo>
                    <a:pt x="287" y="0"/>
                  </a:lnTo>
                  <a:lnTo>
                    <a:pt x="362" y="0"/>
                  </a:lnTo>
                  <a:lnTo>
                    <a:pt x="362" y="74"/>
                  </a:lnTo>
                  <a:lnTo>
                    <a:pt x="334" y="47"/>
                  </a:lnTo>
                  <a:lnTo>
                    <a:pt x="215" y="162"/>
                  </a:lnTo>
                  <a:close/>
                  <a:moveTo>
                    <a:pt x="66" y="356"/>
                  </a:moveTo>
                  <a:lnTo>
                    <a:pt x="156" y="356"/>
                  </a:lnTo>
                  <a:lnTo>
                    <a:pt x="156" y="230"/>
                  </a:lnTo>
                  <a:lnTo>
                    <a:pt x="66" y="230"/>
                  </a:lnTo>
                  <a:lnTo>
                    <a:pt x="66" y="356"/>
                  </a:lnTo>
                  <a:close/>
                  <a:moveTo>
                    <a:pt x="191" y="356"/>
                  </a:moveTo>
                  <a:lnTo>
                    <a:pt x="281" y="356"/>
                  </a:lnTo>
                  <a:lnTo>
                    <a:pt x="281" y="190"/>
                  </a:lnTo>
                  <a:lnTo>
                    <a:pt x="191" y="190"/>
                  </a:lnTo>
                  <a:lnTo>
                    <a:pt x="191" y="356"/>
                  </a:lnTo>
                  <a:close/>
                  <a:moveTo>
                    <a:pt x="316" y="106"/>
                  </a:moveTo>
                  <a:lnTo>
                    <a:pt x="316" y="356"/>
                  </a:lnTo>
                  <a:lnTo>
                    <a:pt x="406" y="356"/>
                  </a:lnTo>
                  <a:lnTo>
                    <a:pt x="406" y="106"/>
                  </a:lnTo>
                  <a:lnTo>
                    <a:pt x="316" y="10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9" name="îśļîḓé">
              <a:extLst>
                <a:ext uri="{FF2B5EF4-FFF2-40B4-BE49-F238E27FC236}">
                  <a16:creationId xmlns:a16="http://schemas.microsoft.com/office/drawing/2014/main" id="{B22F4E3E-2241-4912-BFFE-418978996AA4}"/>
                </a:ext>
              </a:extLst>
            </p:cNvPr>
            <p:cNvGrpSpPr/>
            <p:nvPr/>
          </p:nvGrpSpPr>
          <p:grpSpPr>
            <a:xfrm>
              <a:off x="6333382" y="3324238"/>
              <a:ext cx="2203845" cy="1304841"/>
              <a:chOff x="672705" y="4762585"/>
              <a:chExt cx="2394346" cy="1384215"/>
            </a:xfrm>
          </p:grpSpPr>
          <p:sp>
            <p:nvSpPr>
              <p:cNvPr id="26" name="ïṣḷîďê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2705" y="4762585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900" b="1" dirty="0" err="1"/>
                  <a:t>Dlib</a:t>
                </a:r>
                <a:endParaRPr lang="en-US" altLang="zh-CN" sz="1900" b="1" dirty="0"/>
              </a:p>
            </p:txBody>
          </p:sp>
          <p:sp>
            <p:nvSpPr>
              <p:cNvPr id="27" name="îSḻiḓé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2705" y="5217765"/>
                <a:ext cx="2394346" cy="92903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500" dirty="0"/>
                  <a:t>(99.38%)</a:t>
                </a:r>
              </a:p>
            </p:txBody>
          </p:sp>
        </p:grpSp>
        <p:sp>
          <p:nvSpPr>
            <p:cNvPr id="10" name="iš1íḓé">
              <a:extLst>
                <a:ext uri="{FF2B5EF4-FFF2-40B4-BE49-F238E27FC236}">
                  <a16:creationId xmlns:a16="http://schemas.microsoft.com/office/drawing/2014/main" id="{94B63994-6C40-488D-A3E6-5E583CD03D93}"/>
                </a:ext>
              </a:extLst>
            </p:cNvPr>
            <p:cNvSpPr/>
            <p:nvPr/>
          </p:nvSpPr>
          <p:spPr bwMode="auto">
            <a:xfrm>
              <a:off x="9820050" y="2707801"/>
              <a:ext cx="587730" cy="434806"/>
            </a:xfrm>
            <a:custGeom>
              <a:avLst/>
              <a:gdLst>
                <a:gd name="T0" fmla="*/ 278945 h 440259"/>
                <a:gd name="T1" fmla="*/ 278945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278945 h 440259"/>
                <a:gd name="T15" fmla="*/ 278945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  <a:gd name="T24" fmla="*/ 278945 h 440259"/>
                <a:gd name="T25" fmla="*/ 278945 h 440259"/>
                <a:gd name="T26" fmla="*/ 278945 h 440259"/>
                <a:gd name="T27" fmla="*/ 278945 h 440259"/>
                <a:gd name="T28" fmla="*/ 278945 h 440259"/>
                <a:gd name="T29" fmla="*/ 278945 h 440259"/>
                <a:gd name="T30" fmla="*/ 88862 h 440259"/>
                <a:gd name="T31" fmla="*/ 88862 h 440259"/>
                <a:gd name="T32" fmla="*/ 278945 h 440259"/>
                <a:gd name="T33" fmla="*/ 278945 h 440259"/>
                <a:gd name="T34" fmla="*/ 278945 h 440259"/>
                <a:gd name="T35" fmla="*/ 278945 h 440259"/>
                <a:gd name="T36" fmla="*/ 278945 h 440259"/>
                <a:gd name="T37" fmla="*/ 278945 h 440259"/>
                <a:gd name="T38" fmla="*/ 278945 h 440259"/>
                <a:gd name="T39" fmla="*/ 278945 h 440259"/>
                <a:gd name="T40" fmla="*/ 278945 h 440259"/>
                <a:gd name="T41" fmla="*/ 278945 h 440259"/>
                <a:gd name="T42" fmla="*/ 278945 h 440259"/>
                <a:gd name="T43" fmla="*/ 278945 h 440259"/>
                <a:gd name="T44" fmla="*/ 278945 h 440259"/>
                <a:gd name="T45" fmla="*/ 278945 h 440259"/>
                <a:gd name="T46" fmla="*/ 278945 h 440259"/>
                <a:gd name="T47" fmla="*/ 278945 h 440259"/>
                <a:gd name="T48" fmla="*/ 278945 h 440259"/>
                <a:gd name="T49" fmla="*/ 278945 h 440259"/>
                <a:gd name="T50" fmla="*/ 278945 h 440259"/>
                <a:gd name="T51" fmla="*/ 278945 h 440259"/>
                <a:gd name="T52" fmla="*/ 278945 h 440259"/>
                <a:gd name="T53" fmla="*/ 278945 h 440259"/>
                <a:gd name="T54" fmla="*/ 278945 h 440259"/>
                <a:gd name="T55" fmla="*/ 278945 h 440259"/>
                <a:gd name="T56" fmla="*/ 278945 h 440259"/>
                <a:gd name="T57" fmla="*/ 278945 h 440259"/>
                <a:gd name="T58" fmla="*/ 278945 h 440259"/>
                <a:gd name="T59" fmla="*/ 278945 h 440259"/>
                <a:gd name="T60" fmla="*/ 278945 h 440259"/>
                <a:gd name="T61" fmla="*/ 278945 h 440259"/>
                <a:gd name="T62" fmla="*/ 278945 h 440259"/>
                <a:gd name="T63" fmla="*/ 278945 h 440259"/>
                <a:gd name="T64" fmla="*/ 278945 h 440259"/>
                <a:gd name="T65" fmla="*/ 278945 h 440259"/>
                <a:gd name="T66" fmla="*/ 278945 h 440259"/>
                <a:gd name="T67" fmla="*/ 278945 h 440259"/>
                <a:gd name="T68" fmla="*/ 278945 h 440259"/>
                <a:gd name="T69" fmla="*/ 278945 h 440259"/>
                <a:gd name="T70" fmla="*/ 278945 h 440259"/>
                <a:gd name="T71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08" h="4896">
                  <a:moveTo>
                    <a:pt x="6608" y="638"/>
                  </a:moveTo>
                  <a:lnTo>
                    <a:pt x="6608" y="2638"/>
                  </a:lnTo>
                  <a:cubicBezTo>
                    <a:pt x="6608" y="2638"/>
                    <a:pt x="6180" y="2723"/>
                    <a:pt x="6092" y="2734"/>
                  </a:cubicBezTo>
                  <a:cubicBezTo>
                    <a:pt x="6004" y="2745"/>
                    <a:pt x="5728" y="2834"/>
                    <a:pt x="5528" y="2642"/>
                  </a:cubicBezTo>
                  <a:cubicBezTo>
                    <a:pt x="5219" y="2346"/>
                    <a:pt x="4122" y="1254"/>
                    <a:pt x="4122" y="1254"/>
                  </a:cubicBezTo>
                  <a:cubicBezTo>
                    <a:pt x="4122" y="1254"/>
                    <a:pt x="3932" y="1069"/>
                    <a:pt x="3629" y="1229"/>
                  </a:cubicBezTo>
                  <a:cubicBezTo>
                    <a:pt x="3350" y="1376"/>
                    <a:pt x="2936" y="1592"/>
                    <a:pt x="2764" y="1675"/>
                  </a:cubicBezTo>
                  <a:cubicBezTo>
                    <a:pt x="2437" y="1849"/>
                    <a:pt x="2167" y="1574"/>
                    <a:pt x="2167" y="1364"/>
                  </a:cubicBezTo>
                  <a:cubicBezTo>
                    <a:pt x="2167" y="1201"/>
                    <a:pt x="2269" y="1090"/>
                    <a:pt x="2414" y="1009"/>
                  </a:cubicBezTo>
                  <a:cubicBezTo>
                    <a:pt x="2808" y="770"/>
                    <a:pt x="3637" y="305"/>
                    <a:pt x="3983" y="121"/>
                  </a:cubicBezTo>
                  <a:cubicBezTo>
                    <a:pt x="4193" y="9"/>
                    <a:pt x="4344" y="0"/>
                    <a:pt x="4633" y="243"/>
                  </a:cubicBezTo>
                  <a:cubicBezTo>
                    <a:pt x="4988" y="541"/>
                    <a:pt x="5304" y="814"/>
                    <a:pt x="5304" y="814"/>
                  </a:cubicBezTo>
                  <a:cubicBezTo>
                    <a:pt x="5304" y="814"/>
                    <a:pt x="5407" y="900"/>
                    <a:pt x="5571" y="865"/>
                  </a:cubicBezTo>
                  <a:cubicBezTo>
                    <a:pt x="5975" y="780"/>
                    <a:pt x="6608" y="638"/>
                    <a:pt x="6608" y="638"/>
                  </a:cubicBezTo>
                  <a:close/>
                  <a:moveTo>
                    <a:pt x="2241" y="4027"/>
                  </a:moveTo>
                  <a:cubicBezTo>
                    <a:pt x="2294" y="3891"/>
                    <a:pt x="2277" y="3738"/>
                    <a:pt x="2175" y="3633"/>
                  </a:cubicBezTo>
                  <a:cubicBezTo>
                    <a:pt x="2083" y="3540"/>
                    <a:pt x="1950" y="3515"/>
                    <a:pt x="1822" y="3544"/>
                  </a:cubicBezTo>
                  <a:cubicBezTo>
                    <a:pt x="1858" y="3418"/>
                    <a:pt x="1838" y="3283"/>
                    <a:pt x="1746" y="3188"/>
                  </a:cubicBezTo>
                  <a:cubicBezTo>
                    <a:pt x="1654" y="3095"/>
                    <a:pt x="1521" y="3070"/>
                    <a:pt x="1394" y="3099"/>
                  </a:cubicBezTo>
                  <a:cubicBezTo>
                    <a:pt x="1429" y="2973"/>
                    <a:pt x="1409" y="2838"/>
                    <a:pt x="1317" y="2744"/>
                  </a:cubicBezTo>
                  <a:cubicBezTo>
                    <a:pt x="1173" y="2596"/>
                    <a:pt x="924" y="2602"/>
                    <a:pt x="760" y="2758"/>
                  </a:cubicBezTo>
                  <a:cubicBezTo>
                    <a:pt x="597" y="2915"/>
                    <a:pt x="492" y="3198"/>
                    <a:pt x="638" y="3365"/>
                  </a:cubicBezTo>
                  <a:cubicBezTo>
                    <a:pt x="783" y="3531"/>
                    <a:pt x="950" y="3430"/>
                    <a:pt x="1077" y="3401"/>
                  </a:cubicBezTo>
                  <a:cubicBezTo>
                    <a:pt x="1042" y="3527"/>
                    <a:pt x="936" y="3645"/>
                    <a:pt x="1066" y="3810"/>
                  </a:cubicBezTo>
                  <a:cubicBezTo>
                    <a:pt x="1197" y="3975"/>
                    <a:pt x="1378" y="3875"/>
                    <a:pt x="1506" y="3846"/>
                  </a:cubicBezTo>
                  <a:cubicBezTo>
                    <a:pt x="1470" y="3972"/>
                    <a:pt x="1369" y="4101"/>
                    <a:pt x="1494" y="4254"/>
                  </a:cubicBezTo>
                  <a:cubicBezTo>
                    <a:pt x="1621" y="4408"/>
                    <a:pt x="1829" y="4326"/>
                    <a:pt x="1966" y="4283"/>
                  </a:cubicBezTo>
                  <a:cubicBezTo>
                    <a:pt x="1913" y="4419"/>
                    <a:pt x="1799" y="4566"/>
                    <a:pt x="1945" y="4730"/>
                  </a:cubicBezTo>
                  <a:cubicBezTo>
                    <a:pt x="2090" y="4896"/>
                    <a:pt x="2426" y="4819"/>
                    <a:pt x="2590" y="4663"/>
                  </a:cubicBezTo>
                  <a:cubicBezTo>
                    <a:pt x="2753" y="4506"/>
                    <a:pt x="2769" y="4258"/>
                    <a:pt x="2625" y="4110"/>
                  </a:cubicBezTo>
                  <a:cubicBezTo>
                    <a:pt x="2526" y="4008"/>
                    <a:pt x="2378" y="3985"/>
                    <a:pt x="2241" y="4027"/>
                  </a:cubicBezTo>
                  <a:close/>
                  <a:moveTo>
                    <a:pt x="5233" y="2987"/>
                  </a:moveTo>
                  <a:cubicBezTo>
                    <a:pt x="4047" y="1802"/>
                    <a:pt x="4605" y="2359"/>
                    <a:pt x="3967" y="1720"/>
                  </a:cubicBezTo>
                  <a:cubicBezTo>
                    <a:pt x="3967" y="1720"/>
                    <a:pt x="3775" y="1529"/>
                    <a:pt x="3523" y="1640"/>
                  </a:cubicBezTo>
                  <a:cubicBezTo>
                    <a:pt x="3346" y="1718"/>
                    <a:pt x="3117" y="1824"/>
                    <a:pt x="2945" y="1905"/>
                  </a:cubicBezTo>
                  <a:cubicBezTo>
                    <a:pt x="2757" y="2004"/>
                    <a:pt x="2621" y="2034"/>
                    <a:pt x="2557" y="2034"/>
                  </a:cubicBezTo>
                  <a:cubicBezTo>
                    <a:pt x="2192" y="2031"/>
                    <a:pt x="1896" y="1738"/>
                    <a:pt x="1896" y="1373"/>
                  </a:cubicBezTo>
                  <a:cubicBezTo>
                    <a:pt x="1896" y="1137"/>
                    <a:pt x="2022" y="931"/>
                    <a:pt x="2209" y="814"/>
                  </a:cubicBezTo>
                  <a:cubicBezTo>
                    <a:pt x="2472" y="632"/>
                    <a:pt x="3078" y="310"/>
                    <a:pt x="3078" y="310"/>
                  </a:cubicBezTo>
                  <a:cubicBezTo>
                    <a:pt x="3078" y="310"/>
                    <a:pt x="2894" y="76"/>
                    <a:pt x="2489" y="76"/>
                  </a:cubicBezTo>
                  <a:cubicBezTo>
                    <a:pt x="2085" y="76"/>
                    <a:pt x="1240" y="629"/>
                    <a:pt x="1240" y="629"/>
                  </a:cubicBezTo>
                  <a:cubicBezTo>
                    <a:pt x="1240" y="629"/>
                    <a:pt x="1000" y="783"/>
                    <a:pt x="659" y="644"/>
                  </a:cubicBezTo>
                  <a:lnTo>
                    <a:pt x="0" y="415"/>
                  </a:lnTo>
                  <a:lnTo>
                    <a:pt x="0" y="2704"/>
                  </a:lnTo>
                  <a:cubicBezTo>
                    <a:pt x="0" y="2704"/>
                    <a:pt x="188" y="2758"/>
                    <a:pt x="357" y="2827"/>
                  </a:cubicBezTo>
                  <a:cubicBezTo>
                    <a:pt x="395" y="2719"/>
                    <a:pt x="457" y="2618"/>
                    <a:pt x="542" y="2535"/>
                  </a:cubicBezTo>
                  <a:cubicBezTo>
                    <a:pt x="822" y="2268"/>
                    <a:pt x="1287" y="2265"/>
                    <a:pt x="1542" y="2528"/>
                  </a:cubicBezTo>
                  <a:cubicBezTo>
                    <a:pt x="1619" y="2608"/>
                    <a:pt x="1673" y="2703"/>
                    <a:pt x="1700" y="2808"/>
                  </a:cubicBezTo>
                  <a:cubicBezTo>
                    <a:pt x="1803" y="2840"/>
                    <a:pt x="1896" y="2896"/>
                    <a:pt x="1971" y="2973"/>
                  </a:cubicBezTo>
                  <a:cubicBezTo>
                    <a:pt x="2048" y="3053"/>
                    <a:pt x="2101" y="3148"/>
                    <a:pt x="2129" y="3253"/>
                  </a:cubicBezTo>
                  <a:cubicBezTo>
                    <a:pt x="2231" y="3285"/>
                    <a:pt x="2324" y="3341"/>
                    <a:pt x="2399" y="3418"/>
                  </a:cubicBezTo>
                  <a:cubicBezTo>
                    <a:pt x="2484" y="3505"/>
                    <a:pt x="2540" y="3611"/>
                    <a:pt x="2566" y="3725"/>
                  </a:cubicBezTo>
                  <a:cubicBezTo>
                    <a:pt x="2674" y="3756"/>
                    <a:pt x="2771" y="3814"/>
                    <a:pt x="2849" y="3894"/>
                  </a:cubicBezTo>
                  <a:cubicBezTo>
                    <a:pt x="3002" y="4051"/>
                    <a:pt x="3056" y="4265"/>
                    <a:pt x="3023" y="4471"/>
                  </a:cubicBezTo>
                  <a:cubicBezTo>
                    <a:pt x="3024" y="4471"/>
                    <a:pt x="3024" y="4471"/>
                    <a:pt x="3024" y="4472"/>
                  </a:cubicBezTo>
                  <a:cubicBezTo>
                    <a:pt x="3027" y="4475"/>
                    <a:pt x="3119" y="4578"/>
                    <a:pt x="3177" y="4636"/>
                  </a:cubicBezTo>
                  <a:cubicBezTo>
                    <a:pt x="3290" y="4749"/>
                    <a:pt x="3475" y="4749"/>
                    <a:pt x="3588" y="4636"/>
                  </a:cubicBezTo>
                  <a:cubicBezTo>
                    <a:pt x="3700" y="4523"/>
                    <a:pt x="3701" y="4339"/>
                    <a:pt x="3588" y="4225"/>
                  </a:cubicBezTo>
                  <a:cubicBezTo>
                    <a:pt x="3584" y="4221"/>
                    <a:pt x="3180" y="3799"/>
                    <a:pt x="3213" y="3766"/>
                  </a:cubicBezTo>
                  <a:cubicBezTo>
                    <a:pt x="3245" y="3734"/>
                    <a:pt x="3759" y="4269"/>
                    <a:pt x="3769" y="4279"/>
                  </a:cubicBezTo>
                  <a:cubicBezTo>
                    <a:pt x="3882" y="4391"/>
                    <a:pt x="4066" y="4391"/>
                    <a:pt x="4179" y="4279"/>
                  </a:cubicBezTo>
                  <a:cubicBezTo>
                    <a:pt x="4292" y="4166"/>
                    <a:pt x="4292" y="3981"/>
                    <a:pt x="4179" y="3868"/>
                  </a:cubicBezTo>
                  <a:cubicBezTo>
                    <a:pt x="4174" y="3863"/>
                    <a:pt x="4151" y="3841"/>
                    <a:pt x="4142" y="3832"/>
                  </a:cubicBezTo>
                  <a:cubicBezTo>
                    <a:pt x="4142" y="3832"/>
                    <a:pt x="3632" y="3378"/>
                    <a:pt x="3671" y="3339"/>
                  </a:cubicBezTo>
                  <a:cubicBezTo>
                    <a:pt x="3710" y="3300"/>
                    <a:pt x="4343" y="3891"/>
                    <a:pt x="4345" y="3891"/>
                  </a:cubicBezTo>
                  <a:cubicBezTo>
                    <a:pt x="4458" y="3993"/>
                    <a:pt x="4634" y="3992"/>
                    <a:pt x="4743" y="3883"/>
                  </a:cubicBezTo>
                  <a:cubicBezTo>
                    <a:pt x="4850" y="3776"/>
                    <a:pt x="4852" y="3608"/>
                    <a:pt x="4758" y="3494"/>
                  </a:cubicBezTo>
                  <a:cubicBezTo>
                    <a:pt x="4756" y="3488"/>
                    <a:pt x="4275" y="2986"/>
                    <a:pt x="4312" y="2948"/>
                  </a:cubicBezTo>
                  <a:cubicBezTo>
                    <a:pt x="4351" y="2910"/>
                    <a:pt x="4826" y="3400"/>
                    <a:pt x="4827" y="3401"/>
                  </a:cubicBezTo>
                  <a:cubicBezTo>
                    <a:pt x="4940" y="3513"/>
                    <a:pt x="5124" y="3513"/>
                    <a:pt x="5238" y="3401"/>
                  </a:cubicBezTo>
                  <a:cubicBezTo>
                    <a:pt x="5350" y="3288"/>
                    <a:pt x="5350" y="3103"/>
                    <a:pt x="5238" y="2990"/>
                  </a:cubicBezTo>
                  <a:cubicBezTo>
                    <a:pt x="5236" y="2989"/>
                    <a:pt x="5234" y="2988"/>
                    <a:pt x="5233" y="29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1" name="íṥḷïḓé">
              <a:extLst>
                <a:ext uri="{FF2B5EF4-FFF2-40B4-BE49-F238E27FC236}">
                  <a16:creationId xmlns:a16="http://schemas.microsoft.com/office/drawing/2014/main" id="{D8AA26F3-C17F-46B2-B9CC-D8BAE74958FB}"/>
                </a:ext>
              </a:extLst>
            </p:cNvPr>
            <p:cNvGrpSpPr/>
            <p:nvPr/>
          </p:nvGrpSpPr>
          <p:grpSpPr>
            <a:xfrm>
              <a:off x="9011993" y="3324237"/>
              <a:ext cx="2203845" cy="1304843"/>
              <a:chOff x="672705" y="4762583"/>
              <a:chExt cx="2394346" cy="1384217"/>
            </a:xfrm>
          </p:grpSpPr>
          <p:sp>
            <p:nvSpPr>
              <p:cNvPr id="24" name="iṣḷïḓ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2705" y="4762583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900" b="1" dirty="0" err="1"/>
                  <a:t>facenet</a:t>
                </a:r>
                <a:endParaRPr lang="en-US" altLang="zh-CN" sz="1900" b="1" dirty="0"/>
              </a:p>
            </p:txBody>
          </p:sp>
          <p:sp>
            <p:nvSpPr>
              <p:cNvPr id="25" name="îSḻïḋ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2705" y="5217765"/>
                <a:ext cx="2394346" cy="92903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500" dirty="0"/>
                  <a:t>(99.65%)</a:t>
                </a:r>
              </a:p>
            </p:txBody>
          </p:sp>
        </p:grpSp>
        <p:sp>
          <p:nvSpPr>
            <p:cNvPr id="12" name="ï$ľiḑè">
              <a:extLst>
                <a:ext uri="{FF2B5EF4-FFF2-40B4-BE49-F238E27FC236}">
                  <a16:creationId xmlns:a16="http://schemas.microsoft.com/office/drawing/2014/main" id="{E3F20857-1777-444C-9D35-385662A77B8B}"/>
                </a:ext>
              </a:extLst>
            </p:cNvPr>
            <p:cNvSpPr/>
            <p:nvPr/>
          </p:nvSpPr>
          <p:spPr bwMode="auto">
            <a:xfrm>
              <a:off x="1801445" y="2730787"/>
              <a:ext cx="553278" cy="411820"/>
            </a:xfrm>
            <a:custGeom>
              <a:avLst/>
              <a:gdLst>
                <a:gd name="connsiteX0" fmla="*/ 36795 w 606651"/>
                <a:gd name="connsiteY0" fmla="*/ 106977 h 451548"/>
                <a:gd name="connsiteX1" fmla="*/ 91546 w 606651"/>
                <a:gd name="connsiteY1" fmla="*/ 106977 h 451548"/>
                <a:gd name="connsiteX2" fmla="*/ 212272 w 606651"/>
                <a:gd name="connsiteY2" fmla="*/ 106977 h 451548"/>
                <a:gd name="connsiteX3" fmla="*/ 240008 w 606651"/>
                <a:gd name="connsiteY3" fmla="*/ 118743 h 451548"/>
                <a:gd name="connsiteX4" fmla="*/ 266302 w 606651"/>
                <a:gd name="connsiteY4" fmla="*/ 145876 h 451548"/>
                <a:gd name="connsiteX5" fmla="*/ 294038 w 606651"/>
                <a:gd name="connsiteY5" fmla="*/ 157642 h 451548"/>
                <a:gd name="connsiteX6" fmla="*/ 498775 w 606651"/>
                <a:gd name="connsiteY6" fmla="*/ 157642 h 451548"/>
                <a:gd name="connsiteX7" fmla="*/ 515128 w 606651"/>
                <a:gd name="connsiteY7" fmla="*/ 173890 h 451548"/>
                <a:gd name="connsiteX8" fmla="*/ 515128 w 606651"/>
                <a:gd name="connsiteY8" fmla="*/ 344535 h 451548"/>
                <a:gd name="connsiteX9" fmla="*/ 515128 w 606651"/>
                <a:gd name="connsiteY9" fmla="*/ 414810 h 451548"/>
                <a:gd name="connsiteX10" fmla="*/ 478333 w 606651"/>
                <a:gd name="connsiteY10" fmla="*/ 451548 h 451548"/>
                <a:gd name="connsiteX11" fmla="*/ 36795 w 606651"/>
                <a:gd name="connsiteY11" fmla="*/ 451548 h 451548"/>
                <a:gd name="connsiteX12" fmla="*/ 0 w 606651"/>
                <a:gd name="connsiteY12" fmla="*/ 414810 h 451548"/>
                <a:gd name="connsiteX13" fmla="*/ 0 w 606651"/>
                <a:gd name="connsiteY13" fmla="*/ 143715 h 451548"/>
                <a:gd name="connsiteX14" fmla="*/ 36795 w 606651"/>
                <a:gd name="connsiteY14" fmla="*/ 106977 h 451548"/>
                <a:gd name="connsiteX15" fmla="*/ 128318 w 606651"/>
                <a:gd name="connsiteY15" fmla="*/ 0 h 451548"/>
                <a:gd name="connsiteX16" fmla="*/ 303795 w 606651"/>
                <a:gd name="connsiteY16" fmla="*/ 0 h 451548"/>
                <a:gd name="connsiteX17" fmla="*/ 331531 w 606651"/>
                <a:gd name="connsiteY17" fmla="*/ 11686 h 451548"/>
                <a:gd name="connsiteX18" fmla="*/ 357825 w 606651"/>
                <a:gd name="connsiteY18" fmla="*/ 38900 h 451548"/>
                <a:gd name="connsiteX19" fmla="*/ 385561 w 606651"/>
                <a:gd name="connsiteY19" fmla="*/ 50586 h 451548"/>
                <a:gd name="connsiteX20" fmla="*/ 590298 w 606651"/>
                <a:gd name="connsiteY20" fmla="*/ 50586 h 451548"/>
                <a:gd name="connsiteX21" fmla="*/ 606651 w 606651"/>
                <a:gd name="connsiteY21" fmla="*/ 66915 h 451548"/>
                <a:gd name="connsiteX22" fmla="*/ 606651 w 606651"/>
                <a:gd name="connsiteY22" fmla="*/ 307761 h 451548"/>
                <a:gd name="connsiteX23" fmla="*/ 569856 w 606651"/>
                <a:gd name="connsiteY23" fmla="*/ 344500 h 451548"/>
                <a:gd name="connsiteX24" fmla="*/ 531458 w 606651"/>
                <a:gd name="connsiteY24" fmla="*/ 344500 h 451548"/>
                <a:gd name="connsiteX25" fmla="*/ 531458 w 606651"/>
                <a:gd name="connsiteY25" fmla="*/ 173851 h 451548"/>
                <a:gd name="connsiteX26" fmla="*/ 498751 w 606651"/>
                <a:gd name="connsiteY26" fmla="*/ 141194 h 451548"/>
                <a:gd name="connsiteX27" fmla="*/ 294015 w 606651"/>
                <a:gd name="connsiteY27" fmla="*/ 141194 h 451548"/>
                <a:gd name="connsiteX28" fmla="*/ 278062 w 606651"/>
                <a:gd name="connsiteY28" fmla="*/ 134470 h 451548"/>
                <a:gd name="connsiteX29" fmla="*/ 251689 w 606651"/>
                <a:gd name="connsiteY29" fmla="*/ 107336 h 451548"/>
                <a:gd name="connsiteX30" fmla="*/ 212249 w 606651"/>
                <a:gd name="connsiteY30" fmla="*/ 90607 h 451548"/>
                <a:gd name="connsiteX31" fmla="*/ 91523 w 606651"/>
                <a:gd name="connsiteY31" fmla="*/ 90607 h 451548"/>
                <a:gd name="connsiteX32" fmla="*/ 91523 w 606651"/>
                <a:gd name="connsiteY32" fmla="*/ 36739 h 451548"/>
                <a:gd name="connsiteX33" fmla="*/ 128318 w 606651"/>
                <a:gd name="connsiteY33" fmla="*/ 0 h 45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651" h="451548">
                  <a:moveTo>
                    <a:pt x="36795" y="106977"/>
                  </a:moveTo>
                  <a:lnTo>
                    <a:pt x="91546" y="106977"/>
                  </a:lnTo>
                  <a:lnTo>
                    <a:pt x="212272" y="106977"/>
                  </a:lnTo>
                  <a:cubicBezTo>
                    <a:pt x="221330" y="106977"/>
                    <a:pt x="233675" y="112260"/>
                    <a:pt x="240008" y="118743"/>
                  </a:cubicBezTo>
                  <a:lnTo>
                    <a:pt x="266302" y="145876"/>
                  </a:lnTo>
                  <a:cubicBezTo>
                    <a:pt x="272554" y="152360"/>
                    <a:pt x="284980" y="157642"/>
                    <a:pt x="294038" y="157642"/>
                  </a:cubicBezTo>
                  <a:lnTo>
                    <a:pt x="498775" y="157642"/>
                  </a:lnTo>
                  <a:cubicBezTo>
                    <a:pt x="507833" y="157642"/>
                    <a:pt x="515128" y="164926"/>
                    <a:pt x="515128" y="173890"/>
                  </a:cubicBezTo>
                  <a:lnTo>
                    <a:pt x="515128" y="344535"/>
                  </a:lnTo>
                  <a:lnTo>
                    <a:pt x="515128" y="414810"/>
                  </a:lnTo>
                  <a:cubicBezTo>
                    <a:pt x="515128" y="435060"/>
                    <a:pt x="498695" y="451548"/>
                    <a:pt x="478333" y="451548"/>
                  </a:cubicBezTo>
                  <a:lnTo>
                    <a:pt x="36795" y="451548"/>
                  </a:lnTo>
                  <a:cubicBezTo>
                    <a:pt x="16433" y="451548"/>
                    <a:pt x="0" y="435060"/>
                    <a:pt x="0" y="414810"/>
                  </a:cubicBezTo>
                  <a:lnTo>
                    <a:pt x="0" y="143715"/>
                  </a:lnTo>
                  <a:cubicBezTo>
                    <a:pt x="0" y="123385"/>
                    <a:pt x="16433" y="106977"/>
                    <a:pt x="36795" y="106977"/>
                  </a:cubicBezTo>
                  <a:close/>
                  <a:moveTo>
                    <a:pt x="128318" y="0"/>
                  </a:moveTo>
                  <a:lnTo>
                    <a:pt x="303795" y="0"/>
                  </a:lnTo>
                  <a:cubicBezTo>
                    <a:pt x="312853" y="0"/>
                    <a:pt x="325279" y="5283"/>
                    <a:pt x="331531" y="11686"/>
                  </a:cubicBezTo>
                  <a:lnTo>
                    <a:pt x="357825" y="38900"/>
                  </a:lnTo>
                  <a:cubicBezTo>
                    <a:pt x="364158" y="45384"/>
                    <a:pt x="376583" y="50586"/>
                    <a:pt x="385561" y="50586"/>
                  </a:cubicBezTo>
                  <a:lnTo>
                    <a:pt x="590298" y="50586"/>
                  </a:lnTo>
                  <a:cubicBezTo>
                    <a:pt x="599356" y="50586"/>
                    <a:pt x="606651" y="57950"/>
                    <a:pt x="606651" y="66915"/>
                  </a:cubicBezTo>
                  <a:lnTo>
                    <a:pt x="606651" y="307761"/>
                  </a:lnTo>
                  <a:cubicBezTo>
                    <a:pt x="606651" y="328091"/>
                    <a:pt x="590218" y="344500"/>
                    <a:pt x="569856" y="344500"/>
                  </a:cubicBezTo>
                  <a:lnTo>
                    <a:pt x="531458" y="344500"/>
                  </a:lnTo>
                  <a:lnTo>
                    <a:pt x="531458" y="173851"/>
                  </a:lnTo>
                  <a:cubicBezTo>
                    <a:pt x="531458" y="155921"/>
                    <a:pt x="516788" y="141194"/>
                    <a:pt x="498751" y="141194"/>
                  </a:cubicBezTo>
                  <a:lnTo>
                    <a:pt x="294015" y="141194"/>
                  </a:lnTo>
                  <a:cubicBezTo>
                    <a:pt x="289446" y="141194"/>
                    <a:pt x="281189" y="137752"/>
                    <a:pt x="278062" y="134470"/>
                  </a:cubicBezTo>
                  <a:lnTo>
                    <a:pt x="251689" y="107336"/>
                  </a:lnTo>
                  <a:cubicBezTo>
                    <a:pt x="242310" y="97651"/>
                    <a:pt x="225716" y="90607"/>
                    <a:pt x="212249" y="90607"/>
                  </a:cubicBezTo>
                  <a:lnTo>
                    <a:pt x="91523" y="90607"/>
                  </a:lnTo>
                  <a:lnTo>
                    <a:pt x="91523" y="36739"/>
                  </a:lnTo>
                  <a:cubicBezTo>
                    <a:pt x="91523" y="16409"/>
                    <a:pt x="108037" y="0"/>
                    <a:pt x="1283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3" name="îšḷiḋê">
              <a:extLst>
                <a:ext uri="{FF2B5EF4-FFF2-40B4-BE49-F238E27FC236}">
                  <a16:creationId xmlns:a16="http://schemas.microsoft.com/office/drawing/2014/main" id="{438739D4-4058-47A8-9C7B-D4C72450E372}"/>
                </a:ext>
              </a:extLst>
            </p:cNvPr>
            <p:cNvGrpSpPr/>
            <p:nvPr/>
          </p:nvGrpSpPr>
          <p:grpSpPr>
            <a:xfrm>
              <a:off x="976162" y="3324238"/>
              <a:ext cx="2203845" cy="1304841"/>
              <a:chOff x="672705" y="4762585"/>
              <a:chExt cx="2394346" cy="1384215"/>
            </a:xfrm>
          </p:grpSpPr>
          <p:sp>
            <p:nvSpPr>
              <p:cNvPr id="22" name="îśḷíḓé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2705" y="4762585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2000" dirty="0" err="1"/>
                  <a:t>SeetaFace</a:t>
                </a:r>
                <a:endParaRPr lang="en-US" altLang="zh-CN" sz="2000" b="1" dirty="0"/>
              </a:p>
            </p:txBody>
          </p:sp>
          <p:sp>
            <p:nvSpPr>
              <p:cNvPr id="23" name="íṧḻíḓ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2705" y="5217765"/>
                <a:ext cx="2394346" cy="92903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500" dirty="0"/>
                  <a:t>(97.1%)</a:t>
                </a:r>
              </a:p>
            </p:txBody>
          </p:sp>
        </p:grpSp>
        <p:sp>
          <p:nvSpPr>
            <p:cNvPr id="14" name="ïṡlîḍè">
              <a:extLst>
                <a:ext uri="{FF2B5EF4-FFF2-40B4-BE49-F238E27FC236}">
                  <a16:creationId xmlns:a16="http://schemas.microsoft.com/office/drawing/2014/main" id="{7E8DBC38-4E0F-4A86-8C56-0C408E0E97DE}"/>
                </a:ext>
              </a:extLst>
            </p:cNvPr>
            <p:cNvSpPr/>
            <p:nvPr/>
          </p:nvSpPr>
          <p:spPr bwMode="auto">
            <a:xfrm rot="10800000">
              <a:off x="732284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5" name="î$ḻíďê">
              <a:extLst>
                <a:ext uri="{FF2B5EF4-FFF2-40B4-BE49-F238E27FC236}">
                  <a16:creationId xmlns:a16="http://schemas.microsoft.com/office/drawing/2014/main" id="{031BF46B-1138-4605-B1EF-668C83978A31}"/>
                </a:ext>
              </a:extLst>
            </p:cNvPr>
            <p:cNvSpPr/>
            <p:nvPr/>
          </p:nvSpPr>
          <p:spPr bwMode="auto">
            <a:xfrm>
              <a:off x="3414143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ïŝḻidé">
              <a:extLst>
                <a:ext uri="{FF2B5EF4-FFF2-40B4-BE49-F238E27FC236}">
                  <a16:creationId xmlns:a16="http://schemas.microsoft.com/office/drawing/2014/main" id="{496795D4-1A99-4818-8AF3-83A800700DD9}"/>
                </a:ext>
              </a:extLst>
            </p:cNvPr>
            <p:cNvSpPr/>
            <p:nvPr/>
          </p:nvSpPr>
          <p:spPr bwMode="auto">
            <a:xfrm rot="10800000">
              <a:off x="6096000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islîďè">
              <a:extLst>
                <a:ext uri="{FF2B5EF4-FFF2-40B4-BE49-F238E27FC236}">
                  <a16:creationId xmlns:a16="http://schemas.microsoft.com/office/drawing/2014/main" id="{BE8210D0-0B49-486A-9A89-BFAF09451B5F}"/>
                </a:ext>
              </a:extLst>
            </p:cNvPr>
            <p:cNvSpPr/>
            <p:nvPr/>
          </p:nvSpPr>
          <p:spPr bwMode="auto">
            <a:xfrm>
              <a:off x="8777857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8" name="ïṧḻiḍe">
              <a:extLst>
                <a:ext uri="{FF2B5EF4-FFF2-40B4-BE49-F238E27FC236}">
                  <a16:creationId xmlns:a16="http://schemas.microsoft.com/office/drawing/2014/main" id="{1A7EF96A-FEA4-4B20-85D6-9B035ED3B098}"/>
                </a:ext>
              </a:extLst>
            </p:cNvPr>
            <p:cNvSpPr/>
            <p:nvPr/>
          </p:nvSpPr>
          <p:spPr>
            <a:xfrm>
              <a:off x="1756792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1</a:t>
              </a:r>
            </a:p>
          </p:txBody>
        </p:sp>
        <p:sp>
          <p:nvSpPr>
            <p:cNvPr id="19" name="îśliďê">
              <a:extLst>
                <a:ext uri="{FF2B5EF4-FFF2-40B4-BE49-F238E27FC236}">
                  <a16:creationId xmlns:a16="http://schemas.microsoft.com/office/drawing/2014/main" id="{AECB0D36-5B95-40C9-9A3B-21F3C089592C}"/>
                </a:ext>
              </a:extLst>
            </p:cNvPr>
            <p:cNvSpPr/>
            <p:nvPr/>
          </p:nvSpPr>
          <p:spPr>
            <a:xfrm>
              <a:off x="4438650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2</a:t>
              </a:r>
            </a:p>
          </p:txBody>
        </p:sp>
        <p:sp>
          <p:nvSpPr>
            <p:cNvPr id="20" name="î$ḷiḋè">
              <a:extLst>
                <a:ext uri="{FF2B5EF4-FFF2-40B4-BE49-F238E27FC236}">
                  <a16:creationId xmlns:a16="http://schemas.microsoft.com/office/drawing/2014/main" id="{3CF8AC50-8B09-46FD-AC90-E05E456EEA40}"/>
                </a:ext>
              </a:extLst>
            </p:cNvPr>
            <p:cNvSpPr/>
            <p:nvPr/>
          </p:nvSpPr>
          <p:spPr>
            <a:xfrm>
              <a:off x="9802364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4</a:t>
              </a:r>
            </a:p>
          </p:txBody>
        </p:sp>
        <p:sp>
          <p:nvSpPr>
            <p:cNvPr id="21" name="îśľïḑê">
              <a:extLst>
                <a:ext uri="{FF2B5EF4-FFF2-40B4-BE49-F238E27FC236}">
                  <a16:creationId xmlns:a16="http://schemas.microsoft.com/office/drawing/2014/main" id="{B688002A-19C1-443A-8EFE-EE5FE29BAF09}"/>
                </a:ext>
              </a:extLst>
            </p:cNvPr>
            <p:cNvSpPr/>
            <p:nvPr/>
          </p:nvSpPr>
          <p:spPr>
            <a:xfrm>
              <a:off x="7120507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1729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3F961823-437E-8C49-A502-37EFD84DE56E}"/>
              </a:ext>
            </a:extLst>
          </p:cNvPr>
          <p:cNvSpPr txBox="1"/>
          <p:nvPr/>
        </p:nvSpPr>
        <p:spPr>
          <a:xfrm>
            <a:off x="4900246" y="3376246"/>
            <a:ext cx="2016369" cy="410308"/>
          </a:xfrm>
          <a:prstGeom prst="rect">
            <a:avLst/>
          </a:prstGeom>
          <a:noFill/>
          <a:ln w="117475">
            <a:noFill/>
          </a:ln>
          <a:effectLst>
            <a:reflection blurRad="101600" stA="50000" endA="300" endPos="38500" dist="50800" dir="5400000" sy="-100000" algn="bl" rotWithShape="0"/>
          </a:effectLst>
        </p:spPr>
        <p:txBody>
          <a:bodyPr wrap="none" rtlCol="0">
            <a:prstTxWarp prst="textPlain">
              <a:avLst>
                <a:gd name="adj" fmla="val 48889"/>
              </a:avLst>
            </a:prstTxWarp>
            <a:spAutoFit/>
          </a:bodyPr>
          <a:lstStyle/>
          <a:p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实现方法</a:t>
            </a:r>
            <a:endParaRPr lang="en-US" altLang="zh-CN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163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36FF4E-1693-471B-82D5-C52295079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ipelin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47D278-9C7C-4607-B9BB-1A5CE608D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268056-F49C-4B5A-93FF-C50764BB4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aphicFrame>
        <p:nvGraphicFramePr>
          <p:cNvPr id="13" name="内容占位符 6">
            <a:extLst>
              <a:ext uri="{FF2B5EF4-FFF2-40B4-BE49-F238E27FC236}">
                <a16:creationId xmlns:a16="http://schemas.microsoft.com/office/drawing/2014/main" id="{7DAFCC95-DF6D-2445-8840-706754583D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9765125"/>
              </p:ext>
            </p:extLst>
          </p:nvPr>
        </p:nvGraphicFramePr>
        <p:xfrm>
          <a:off x="1484304" y="1509346"/>
          <a:ext cx="9406436" cy="4506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179120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六边形 163">
            <a:extLst>
              <a:ext uri="{FF2B5EF4-FFF2-40B4-BE49-F238E27FC236}">
                <a16:creationId xmlns:a16="http://schemas.microsoft.com/office/drawing/2014/main" id="{EB780C3F-E092-7445-BA3A-69ACEA972870}"/>
              </a:ext>
            </a:extLst>
          </p:cNvPr>
          <p:cNvSpPr/>
          <p:nvPr/>
        </p:nvSpPr>
        <p:spPr>
          <a:xfrm>
            <a:off x="435111" y="1985799"/>
            <a:ext cx="4375014" cy="3210428"/>
          </a:xfrm>
          <a:prstGeom prst="hexagon">
            <a:avLst/>
          </a:prstGeom>
          <a:solidFill>
            <a:srgbClr val="867D98">
              <a:lumMod val="20000"/>
              <a:lumOff val="80000"/>
            </a:srgb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914377">
              <a:defRPr/>
            </a:pPr>
            <a:endParaRPr lang="zh-CN" altLang="en-US" dirty="0">
              <a:solidFill>
                <a:srgbClr val="757070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FA1A27D-7029-2B49-914D-ECCD314E9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人脸检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319F9BB-4099-8C44-BBD9-2809F5F60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413E48-A8EC-FA42-B326-980838ADC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4C573CE5-E1F3-DF44-8FE8-71840518C9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552446"/>
              </p:ext>
            </p:extLst>
          </p:nvPr>
        </p:nvGraphicFramePr>
        <p:xfrm>
          <a:off x="5012083" y="1879474"/>
          <a:ext cx="6565750" cy="3422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4140">
                  <a:extLst>
                    <a:ext uri="{9D8B030D-6E8A-4147-A177-3AD203B41FA5}">
                      <a16:colId xmlns:a16="http://schemas.microsoft.com/office/drawing/2014/main" val="3537235358"/>
                    </a:ext>
                  </a:extLst>
                </a:gridCol>
                <a:gridCol w="2211572">
                  <a:extLst>
                    <a:ext uri="{9D8B030D-6E8A-4147-A177-3AD203B41FA5}">
                      <a16:colId xmlns:a16="http://schemas.microsoft.com/office/drawing/2014/main" val="3595109821"/>
                    </a:ext>
                  </a:extLst>
                </a:gridCol>
                <a:gridCol w="2370038">
                  <a:extLst>
                    <a:ext uri="{9D8B030D-6E8A-4147-A177-3AD203B41FA5}">
                      <a16:colId xmlns:a16="http://schemas.microsoft.com/office/drawing/2014/main" val="2321302813"/>
                    </a:ext>
                  </a:extLst>
                </a:gridCol>
              </a:tblGrid>
              <a:tr h="62390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2000" b="1" dirty="0">
                          <a:latin typeface="+mn-ea"/>
                          <a:ea typeface="+mn-ea"/>
                        </a:rPr>
                        <a:t>方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2000" b="1" dirty="0">
                          <a:latin typeface="+mn-ea"/>
                          <a:ea typeface="+mn-ea"/>
                        </a:rPr>
                        <a:t>优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2000" b="1" dirty="0">
                          <a:latin typeface="+mn-ea"/>
                          <a:ea typeface="+mn-ea"/>
                        </a:rPr>
                        <a:t>缺点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3663705"/>
                  </a:ext>
                </a:extLst>
              </a:tr>
              <a:tr h="6555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Haar</a:t>
                      </a:r>
                      <a:r>
                        <a:rPr lang="en-US" altLang="zh-CN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 casc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i="0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计算快</a:t>
                      </a:r>
                      <a:endParaRPr lang="en-US" altLang="zh-CN" sz="2000" b="0" i="0" kern="1200" dirty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i="0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不适应侧脸，遮挡</a:t>
                      </a:r>
                      <a:endParaRPr lang="en-US" altLang="zh-CN" sz="2000" b="0" i="0" kern="1200" dirty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9843802"/>
                  </a:ext>
                </a:extLst>
              </a:tr>
              <a:tr h="6705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HOG SV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i="0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适应侧脸，遮挡</a:t>
                      </a:r>
                      <a:endParaRPr lang="en-US" altLang="zh-CN" sz="2000" b="0" i="0" kern="1200" dirty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i="0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不能能检测小脸</a:t>
                      </a:r>
                      <a:endParaRPr lang="zh-CN" altLang="en-US" sz="20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3850560"/>
                  </a:ext>
                </a:extLst>
              </a:tr>
              <a:tr h="77392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kumimoji="1" lang="en-US" altLang="zh-CN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MTCNN</a:t>
                      </a:r>
                      <a:endParaRPr lang="zh-CN" altLang="en-US" sz="20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kern="120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综合表现好</a:t>
                      </a:r>
                      <a:endParaRPr lang="en-US" altLang="zh-CN" sz="20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占资源，检测慢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8188515"/>
                  </a:ext>
                </a:extLst>
              </a:tr>
              <a:tr h="6981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2000" b="0" dirty="0">
                          <a:latin typeface="+mn-ea"/>
                          <a:ea typeface="+mn-ea"/>
                        </a:rPr>
                        <a:t>……</a:t>
                      </a:r>
                      <a:endParaRPr lang="zh-CN" altLang="en-US" sz="20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…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….</a:t>
                      </a:r>
                      <a:endParaRPr lang="zh-CN" altLang="en-US" sz="20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7130883"/>
                  </a:ext>
                </a:extLst>
              </a:tr>
            </a:tbl>
          </a:graphicData>
        </a:graphic>
      </p:graphicFrame>
      <p:sp>
        <p:nvSpPr>
          <p:cNvPr id="7" name="ïSḷîdé">
            <a:extLst>
              <a:ext uri="{FF2B5EF4-FFF2-40B4-BE49-F238E27FC236}">
                <a16:creationId xmlns:a16="http://schemas.microsoft.com/office/drawing/2014/main" id="{53F67B26-F99C-C047-8E77-6805F0BA7998}"/>
              </a:ext>
            </a:extLst>
          </p:cNvPr>
          <p:cNvSpPr/>
          <p:nvPr/>
        </p:nvSpPr>
        <p:spPr>
          <a:xfrm>
            <a:off x="1190141" y="2258004"/>
            <a:ext cx="1358542" cy="80236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zh-CN" altLang="en-US" sz="1600" b="1" dirty="0"/>
              <a:t>有眼睛</a:t>
            </a:r>
            <a:r>
              <a:rPr lang="en-US" altLang="zh-CN" sz="1600" b="1" dirty="0"/>
              <a:t>?</a:t>
            </a:r>
            <a:endParaRPr sz="1600" b="1" dirty="0"/>
          </a:p>
        </p:txBody>
      </p:sp>
      <p:sp>
        <p:nvSpPr>
          <p:cNvPr id="8" name="ïSḷîdé">
            <a:extLst>
              <a:ext uri="{FF2B5EF4-FFF2-40B4-BE49-F238E27FC236}">
                <a16:creationId xmlns:a16="http://schemas.microsoft.com/office/drawing/2014/main" id="{83A2BAA0-A9D2-0F42-BE2C-0171012DA8AD}"/>
              </a:ext>
            </a:extLst>
          </p:cNvPr>
          <p:cNvSpPr/>
          <p:nvPr/>
        </p:nvSpPr>
        <p:spPr>
          <a:xfrm>
            <a:off x="2650808" y="2230194"/>
            <a:ext cx="1304891" cy="80890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zh-CN" altLang="en-US" sz="1600" b="1" dirty="0"/>
              <a:t>有鼻子</a:t>
            </a:r>
            <a:r>
              <a:rPr lang="en-US" altLang="zh-CN" sz="1600" b="1" dirty="0"/>
              <a:t>?</a:t>
            </a:r>
            <a:endParaRPr sz="1600" b="1" dirty="0"/>
          </a:p>
        </p:txBody>
      </p:sp>
      <p:sp>
        <p:nvSpPr>
          <p:cNvPr id="9" name="ïSḷîdé">
            <a:extLst>
              <a:ext uri="{FF2B5EF4-FFF2-40B4-BE49-F238E27FC236}">
                <a16:creationId xmlns:a16="http://schemas.microsoft.com/office/drawing/2014/main" id="{4897CECB-A6B2-734F-BE6C-5C322D3D888E}"/>
              </a:ext>
            </a:extLst>
          </p:cNvPr>
          <p:cNvSpPr/>
          <p:nvPr/>
        </p:nvSpPr>
        <p:spPr>
          <a:xfrm>
            <a:off x="601361" y="3247509"/>
            <a:ext cx="1984909" cy="66160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zh-CN" altLang="en-US" sz="1600" b="1" dirty="0"/>
              <a:t>鼻子在眼中间</a:t>
            </a:r>
            <a:r>
              <a:rPr lang="en-US" altLang="zh-CN" sz="1600" b="1" dirty="0"/>
              <a:t>?</a:t>
            </a:r>
            <a:endParaRPr sz="1600" b="1" dirty="0"/>
          </a:p>
        </p:txBody>
      </p:sp>
      <p:sp>
        <p:nvSpPr>
          <p:cNvPr id="10" name="ïSḷîdé">
            <a:extLst>
              <a:ext uri="{FF2B5EF4-FFF2-40B4-BE49-F238E27FC236}">
                <a16:creationId xmlns:a16="http://schemas.microsoft.com/office/drawing/2014/main" id="{74CA6A22-D9EB-DB48-84E3-66927A66E9F6}"/>
              </a:ext>
            </a:extLst>
          </p:cNvPr>
          <p:cNvSpPr/>
          <p:nvPr/>
        </p:nvSpPr>
        <p:spPr>
          <a:xfrm>
            <a:off x="2586271" y="3275575"/>
            <a:ext cx="2018980" cy="66160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ctr"/>
            <a:r>
              <a:rPr lang="zh-CN" altLang="en-US" sz="1600" b="1" dirty="0"/>
              <a:t>鼻子在嘴上方</a:t>
            </a:r>
            <a:r>
              <a:rPr lang="en-US" altLang="zh-CN" sz="1600" b="1" dirty="0"/>
              <a:t>?</a:t>
            </a:r>
            <a:endParaRPr sz="1600" b="1" dirty="0"/>
          </a:p>
        </p:txBody>
      </p:sp>
      <p:sp>
        <p:nvSpPr>
          <p:cNvPr id="11" name="ïSḷîdé">
            <a:extLst>
              <a:ext uri="{FF2B5EF4-FFF2-40B4-BE49-F238E27FC236}">
                <a16:creationId xmlns:a16="http://schemas.microsoft.com/office/drawing/2014/main" id="{79FF3D91-79B2-F841-BA71-939F8D884033}"/>
              </a:ext>
            </a:extLst>
          </p:cNvPr>
          <p:cNvSpPr/>
          <p:nvPr/>
        </p:nvSpPr>
        <p:spPr>
          <a:xfrm>
            <a:off x="1616990" y="4266374"/>
            <a:ext cx="1985320" cy="76439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ctr"/>
            <a:r>
              <a:rPr lang="en-US" altLang="zh-CN" sz="1600" b="1" dirty="0"/>
              <a:t>....?</a:t>
            </a:r>
            <a:endParaRPr sz="1600" b="1" dirty="0"/>
          </a:p>
        </p:txBody>
      </p:sp>
    </p:spTree>
    <p:extLst>
      <p:ext uri="{BB962C8B-B14F-4D97-AF65-F5344CB8AC3E}">
        <p14:creationId xmlns:p14="http://schemas.microsoft.com/office/powerpoint/2010/main" val="2933540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3353688-335D-4440-AE4B-763CBA96C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TCNN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2E0987-4F4F-4840-9131-368646D6B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0DD4C7D-9F41-47DE-8BFE-03A35D4E6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B7CF2800-8374-FC4D-805F-437395FE011B}"/>
              </a:ext>
            </a:extLst>
          </p:cNvPr>
          <p:cNvSpPr/>
          <p:nvPr/>
        </p:nvSpPr>
        <p:spPr>
          <a:xfrm>
            <a:off x="742095" y="3139286"/>
            <a:ext cx="1897042" cy="250147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77E6C537-DA88-3C4E-89DE-2E1FA80704B8}"/>
              </a:ext>
            </a:extLst>
          </p:cNvPr>
          <p:cNvSpPr/>
          <p:nvPr/>
        </p:nvSpPr>
        <p:spPr>
          <a:xfrm>
            <a:off x="3690694" y="3139286"/>
            <a:ext cx="1861714" cy="251118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29AD0F0B-D16F-EC48-9C39-C95B4305AA40}"/>
              </a:ext>
            </a:extLst>
          </p:cNvPr>
          <p:cNvSpPr/>
          <p:nvPr/>
        </p:nvSpPr>
        <p:spPr>
          <a:xfrm>
            <a:off x="6458739" y="3139286"/>
            <a:ext cx="1825151" cy="251118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A8721C7E-B02A-D54E-A9B7-2686AABFECB2}"/>
              </a:ext>
            </a:extLst>
          </p:cNvPr>
          <p:cNvSpPr/>
          <p:nvPr/>
        </p:nvSpPr>
        <p:spPr>
          <a:xfrm>
            <a:off x="9291019" y="3139286"/>
            <a:ext cx="1851713" cy="251118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右箭头 37">
            <a:extLst>
              <a:ext uri="{FF2B5EF4-FFF2-40B4-BE49-F238E27FC236}">
                <a16:creationId xmlns:a16="http://schemas.microsoft.com/office/drawing/2014/main" id="{1F7EC8B0-6888-7E47-8444-153205AD73C7}"/>
              </a:ext>
            </a:extLst>
          </p:cNvPr>
          <p:cNvSpPr/>
          <p:nvPr/>
        </p:nvSpPr>
        <p:spPr>
          <a:xfrm>
            <a:off x="2977895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右箭头 38">
            <a:extLst>
              <a:ext uri="{FF2B5EF4-FFF2-40B4-BE49-F238E27FC236}">
                <a16:creationId xmlns:a16="http://schemas.microsoft.com/office/drawing/2014/main" id="{816EF8F4-1090-8141-9FC9-CA43A62D0B9F}"/>
              </a:ext>
            </a:extLst>
          </p:cNvPr>
          <p:cNvSpPr/>
          <p:nvPr/>
        </p:nvSpPr>
        <p:spPr>
          <a:xfrm>
            <a:off x="5786967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0" name="右箭头 39">
            <a:extLst>
              <a:ext uri="{FF2B5EF4-FFF2-40B4-BE49-F238E27FC236}">
                <a16:creationId xmlns:a16="http://schemas.microsoft.com/office/drawing/2014/main" id="{06341A36-BA07-444B-9AC9-51EDB83091C1}"/>
              </a:ext>
            </a:extLst>
          </p:cNvPr>
          <p:cNvSpPr/>
          <p:nvPr/>
        </p:nvSpPr>
        <p:spPr>
          <a:xfrm>
            <a:off x="8559877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244278BD-A234-3549-A10F-465AFED7E578}"/>
              </a:ext>
            </a:extLst>
          </p:cNvPr>
          <p:cNvSpPr txBox="1"/>
          <p:nvPr/>
        </p:nvSpPr>
        <p:spPr>
          <a:xfrm>
            <a:off x="587027" y="2175818"/>
            <a:ext cx="19800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altLang="zh-CN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Resize image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生成图像金字塔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6ECA0D37-F47B-564C-B170-746F30B21B45}"/>
              </a:ext>
            </a:extLst>
          </p:cNvPr>
          <p:cNvSpPr txBox="1"/>
          <p:nvPr/>
        </p:nvSpPr>
        <p:spPr>
          <a:xfrm>
            <a:off x="3373680" y="2175818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P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可能存在人脸区域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6031543D-0DED-314E-BD0E-AA8346BA73F3}"/>
              </a:ext>
            </a:extLst>
          </p:cNvPr>
          <p:cNvSpPr txBox="1"/>
          <p:nvPr/>
        </p:nvSpPr>
        <p:spPr>
          <a:xfrm>
            <a:off x="6166698" y="2175818"/>
            <a:ext cx="24929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R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筛选人脸并修正位置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B25213B-3650-4743-BB54-E8C75BB2DE6D}"/>
              </a:ext>
            </a:extLst>
          </p:cNvPr>
          <p:cNvSpPr txBox="1"/>
          <p:nvPr/>
        </p:nvSpPr>
        <p:spPr>
          <a:xfrm>
            <a:off x="8769708" y="2175818"/>
            <a:ext cx="27494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O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人脸位置和简单特征点</a:t>
            </a:r>
          </a:p>
        </p:txBody>
      </p:sp>
      <p:sp>
        <p:nvSpPr>
          <p:cNvPr id="68" name="işľiḍê">
            <a:extLst>
              <a:ext uri="{FF2B5EF4-FFF2-40B4-BE49-F238E27FC236}">
                <a16:creationId xmlns:a16="http://schemas.microsoft.com/office/drawing/2014/main" id="{CDD44073-69E8-7140-A599-49D0DEBAB6AE}"/>
              </a:ext>
            </a:extLst>
          </p:cNvPr>
          <p:cNvSpPr/>
          <p:nvPr/>
        </p:nvSpPr>
        <p:spPr>
          <a:xfrm>
            <a:off x="1140582" y="1233020"/>
            <a:ext cx="935481" cy="830241"/>
          </a:xfrm>
          <a:prstGeom prst="ellipse">
            <a:avLst/>
          </a:prstGeom>
          <a:solidFill>
            <a:schemeClr val="accent1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1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9" name="îṧļîḓè">
            <a:extLst>
              <a:ext uri="{FF2B5EF4-FFF2-40B4-BE49-F238E27FC236}">
                <a16:creationId xmlns:a16="http://schemas.microsoft.com/office/drawing/2014/main" id="{14D21ED8-5AA1-244E-A384-678697470E05}"/>
              </a:ext>
            </a:extLst>
          </p:cNvPr>
          <p:cNvSpPr/>
          <p:nvPr/>
        </p:nvSpPr>
        <p:spPr>
          <a:xfrm>
            <a:off x="3957184" y="1233020"/>
            <a:ext cx="935481" cy="830241"/>
          </a:xfrm>
          <a:prstGeom prst="ellipse">
            <a:avLst/>
          </a:prstGeom>
          <a:solidFill>
            <a:schemeClr val="accent2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2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0" name="i$ľîḓé">
            <a:extLst>
              <a:ext uri="{FF2B5EF4-FFF2-40B4-BE49-F238E27FC236}">
                <a16:creationId xmlns:a16="http://schemas.microsoft.com/office/drawing/2014/main" id="{EBEF3191-BFAE-E14D-AF28-23D612A09CC9}"/>
              </a:ext>
            </a:extLst>
          </p:cNvPr>
          <p:cNvSpPr/>
          <p:nvPr/>
        </p:nvSpPr>
        <p:spPr>
          <a:xfrm>
            <a:off x="6848286" y="1233020"/>
            <a:ext cx="935481" cy="830241"/>
          </a:xfrm>
          <a:prstGeom prst="ellipse">
            <a:avLst/>
          </a:prstGeom>
          <a:solidFill>
            <a:srgbClr val="00B0F0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3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1" name="ïSlíďê">
            <a:extLst>
              <a:ext uri="{FF2B5EF4-FFF2-40B4-BE49-F238E27FC236}">
                <a16:creationId xmlns:a16="http://schemas.microsoft.com/office/drawing/2014/main" id="{2BF11D2E-DEB6-A644-BDEA-E988F755E6BD}"/>
              </a:ext>
            </a:extLst>
          </p:cNvPr>
          <p:cNvSpPr/>
          <p:nvPr/>
        </p:nvSpPr>
        <p:spPr>
          <a:xfrm>
            <a:off x="9673904" y="1233020"/>
            <a:ext cx="935481" cy="830241"/>
          </a:xfrm>
          <a:prstGeom prst="ellipse">
            <a:avLst/>
          </a:prstGeom>
          <a:solidFill>
            <a:schemeClr val="accent2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4</a:t>
            </a:r>
            <a:endParaRPr lang="zh-CN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754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fb17da0-32e7-4cf3-aa7b-c0fc33b634d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48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936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03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2049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053F"/>
      </a:accent1>
      <a:accent2>
        <a:srgbClr val="00C1F1"/>
      </a:accent2>
      <a:accent3>
        <a:srgbClr val="EFBC22"/>
      </a:accent3>
      <a:accent4>
        <a:srgbClr val="810593"/>
      </a:accent4>
      <a:accent5>
        <a:srgbClr val="110A76"/>
      </a:accent5>
      <a:accent6>
        <a:srgbClr val="004C8C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6a3c4898-3dcd-429d-ac9e-d6bdb94555f2-default" id="{7FC98629-A900-1C43-9680-247820C35242}" vid="{452F1BE8-A1A8-5D48-B889-9C761F7653E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9</TotalTime>
  <Words>585</Words>
  <Application>Microsoft Macintosh PowerPoint</Application>
  <PresentationFormat>Widescreen</PresentationFormat>
  <Paragraphs>18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等线</vt:lpstr>
      <vt:lpstr>FangSong</vt:lpstr>
      <vt:lpstr>微软雅黑</vt:lpstr>
      <vt:lpstr>Arial</vt:lpstr>
      <vt:lpstr>Calibri</vt:lpstr>
      <vt:lpstr>Impact</vt:lpstr>
      <vt:lpstr>主题5</vt:lpstr>
      <vt:lpstr>think-cell Slide</vt:lpstr>
      <vt:lpstr>Face recognition</vt:lpstr>
      <vt:lpstr>PowerPoint Presentation</vt:lpstr>
      <vt:lpstr>Time machine</vt:lpstr>
      <vt:lpstr>应用场景</vt:lpstr>
      <vt:lpstr>开源项目</vt:lpstr>
      <vt:lpstr>PowerPoint Presentation</vt:lpstr>
      <vt:lpstr>Pipeline</vt:lpstr>
      <vt:lpstr>人脸检测</vt:lpstr>
      <vt:lpstr>MTCNN</vt:lpstr>
      <vt:lpstr>人脸对齐</vt:lpstr>
      <vt:lpstr>特征提取&amp;比对</vt:lpstr>
      <vt:lpstr>PowerPoint Presentation</vt:lpstr>
      <vt:lpstr>不足与展望</vt:lpstr>
      <vt:lpstr>Q&amp;A</vt:lpstr>
      <vt:lpstr>Backlog</vt:lpstr>
      <vt:lpstr>LWF</vt:lpstr>
      <vt:lpstr>Haar like</vt:lpstr>
      <vt:lpstr>Affine transformation</vt:lpstr>
      <vt:lpstr>CNN</vt:lpstr>
      <vt:lpstr>Image</vt:lpstr>
      <vt:lpstr>PowerPoint Presentation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C智能 科技有限公司</dc:title>
  <dc:creator>Microsoft Office User</dc:creator>
  <cp:lastModifiedBy>Microsoft Office User</cp:lastModifiedBy>
  <cp:revision>99</cp:revision>
  <cp:lastPrinted>2019-04-18T16:00:00Z</cp:lastPrinted>
  <dcterms:created xsi:type="dcterms:W3CDTF">2019-12-04T13:10:12Z</dcterms:created>
  <dcterms:modified xsi:type="dcterms:W3CDTF">2020-11-28T15:3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